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304" r:id="rId2"/>
    <p:sldId id="269" r:id="rId3"/>
    <p:sldId id="258" r:id="rId4"/>
    <p:sldId id="306" r:id="rId5"/>
    <p:sldId id="259" r:id="rId6"/>
    <p:sldId id="307" r:id="rId7"/>
    <p:sldId id="308" r:id="rId8"/>
    <p:sldId id="298" r:id="rId9"/>
    <p:sldId id="272" r:id="rId10"/>
    <p:sldId id="314" r:id="rId11"/>
    <p:sldId id="273" r:id="rId12"/>
    <p:sldId id="275" r:id="rId13"/>
    <p:sldId id="276" r:id="rId14"/>
    <p:sldId id="277" r:id="rId15"/>
    <p:sldId id="278" r:id="rId16"/>
    <p:sldId id="274" r:id="rId17"/>
    <p:sldId id="309" r:id="rId18"/>
    <p:sldId id="279" r:id="rId19"/>
    <p:sldId id="310" r:id="rId20"/>
    <p:sldId id="280" r:id="rId21"/>
    <p:sldId id="281" r:id="rId22"/>
    <p:sldId id="282" r:id="rId23"/>
    <p:sldId id="311" r:id="rId24"/>
    <p:sldId id="293" r:id="rId25"/>
    <p:sldId id="312" r:id="rId26"/>
    <p:sldId id="315" r:id="rId27"/>
    <p:sldId id="296" r:id="rId28"/>
    <p:sldId id="317" r:id="rId29"/>
    <p:sldId id="318" r:id="rId30"/>
    <p:sldId id="319" r:id="rId31"/>
    <p:sldId id="320" r:id="rId32"/>
    <p:sldId id="321" r:id="rId33"/>
    <p:sldId id="322" r:id="rId34"/>
    <p:sldId id="323" r:id="rId35"/>
    <p:sldId id="316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7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5" d="100"/>
          <a:sy n="55" d="100"/>
        </p:scale>
        <p:origin x="202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41095E7-45A1-4913-82BB-9F0613FF1706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A2E10C56-17DA-492A-8D46-D671EA441E86}">
      <dgm:prSet phldrT="[Text]" custT="1"/>
      <dgm:spPr/>
      <dgm:t>
        <a:bodyPr/>
        <a:lstStyle/>
        <a:p>
          <a:r>
            <a:rPr lang="en-US" sz="1600" dirty="0">
              <a:latin typeface="Arial" panose="020B0604020202020204" pitchFamily="34" charset="0"/>
              <a:cs typeface="Arial" panose="020B0604020202020204" pitchFamily="34" charset="0"/>
            </a:rPr>
            <a:t>Due Diligence</a:t>
          </a:r>
          <a:endParaRPr lang="en-IN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11B3922-C6C4-4F04-B2A3-AFE011AEDBF2}" type="parTrans" cxnId="{4662EBFB-EDCC-47CC-B1FB-A0D01F3DFD50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84A26F8-0A7B-4F43-B053-4E71BC5178BE}" type="sibTrans" cxnId="{4662EBFB-EDCC-47CC-B1FB-A0D01F3DFD50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29FF456-EFE6-4D91-A8FD-8419C2B579F6}">
      <dgm:prSet phldrT="[Text]" custT="1"/>
      <dgm:spPr/>
      <dgm:t>
        <a:bodyPr/>
        <a:lstStyle/>
        <a:p>
          <a:r>
            <a:rPr lang="en-US" sz="1600" dirty="0">
              <a:latin typeface="Arial" panose="020B0604020202020204" pitchFamily="34" charset="0"/>
              <a:cs typeface="Arial" panose="020B0604020202020204" pitchFamily="34" charset="0"/>
            </a:rPr>
            <a:t>Partner Evaluation Checklist</a:t>
          </a:r>
          <a:endParaRPr lang="en-IN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0AA1560-575C-485E-9393-B1B8E72B647E}" type="parTrans" cxnId="{343B68D6-6B0E-4782-B9CD-4E2496A4B9F2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B68FBF0-5737-4F23-AD3E-628BD30D69A0}" type="sibTrans" cxnId="{343B68D6-6B0E-4782-B9CD-4E2496A4B9F2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7983E40-8285-45AB-A62E-5030F6C5FC0D}">
      <dgm:prSet phldrT="[Text]" custT="1"/>
      <dgm:spPr/>
      <dgm:t>
        <a:bodyPr/>
        <a:lstStyle/>
        <a:p>
          <a:r>
            <a:rPr lang="en-US" sz="1600" dirty="0">
              <a:latin typeface="Arial" panose="020B0604020202020204" pitchFamily="34" charset="0"/>
              <a:cs typeface="Arial" panose="020B0604020202020204" pitchFamily="34" charset="0"/>
            </a:rPr>
            <a:t>Agreements Signoff</a:t>
          </a:r>
          <a:endParaRPr lang="en-IN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AD83D82-CBCE-4B7D-B9A6-55710D99D766}" type="parTrans" cxnId="{6C2A395D-463C-4E3F-B8A3-2EF5B4E1354F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838F5E-3E00-4362-9CD1-F80FE34A79CD}" type="sibTrans" cxnId="{6C2A395D-463C-4E3F-B8A3-2EF5B4E1354F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05DDA25-6120-4AB2-976C-DDC69BDB7B35}">
      <dgm:prSet phldrT="[Text]" custT="1"/>
      <dgm:spPr/>
      <dgm:t>
        <a:bodyPr/>
        <a:lstStyle/>
        <a:p>
          <a:r>
            <a:rPr lang="en-US" sz="1600" dirty="0">
              <a:latin typeface="Arial" panose="020B0604020202020204" pitchFamily="34" charset="0"/>
              <a:cs typeface="Arial" panose="020B0604020202020204" pitchFamily="34" charset="0"/>
            </a:rPr>
            <a:t>Infrastructure Set up</a:t>
          </a:r>
          <a:endParaRPr lang="en-IN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483BAC-A81C-4A1A-974B-6E801A011C2C}" type="parTrans" cxnId="{BC974840-4A16-4A0B-AFA2-F7866A1858B1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D90DF2-4982-42A3-9076-6E82D92595FF}" type="sibTrans" cxnId="{BC974840-4A16-4A0B-AFA2-F7866A1858B1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3B22F1-7D46-485D-8CD4-B7CB99EE8115}">
      <dgm:prSet phldrT="[Text]" custT="1"/>
      <dgm:spPr/>
      <dgm:t>
        <a:bodyPr/>
        <a:lstStyle/>
        <a:p>
          <a:r>
            <a:rPr lang="en-US" sz="1600" dirty="0">
              <a:latin typeface="Arial" panose="020B0604020202020204" pitchFamily="34" charset="0"/>
              <a:cs typeface="Arial" panose="020B0604020202020204" pitchFamily="34" charset="0"/>
            </a:rPr>
            <a:t>Training Of Trainers</a:t>
          </a:r>
          <a:endParaRPr lang="en-IN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4730DE-8E38-4DBC-8723-75FF761BE9BD}" type="parTrans" cxnId="{C5BF8311-34AB-4DCB-9A2A-D17623DD60C2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218D0A-136B-40EB-878F-8143D7A7A8F2}" type="sibTrans" cxnId="{C5BF8311-34AB-4DCB-9A2A-D17623DD60C2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B896DF-9C4F-4744-A4A2-53097F1031A4}">
      <dgm:prSet phldrT="[Text]" custT="1"/>
      <dgm:spPr/>
      <dgm:t>
        <a:bodyPr/>
        <a:lstStyle/>
        <a:p>
          <a:r>
            <a:rPr lang="en-US" sz="1600" dirty="0">
              <a:latin typeface="Arial" panose="020B0604020202020204" pitchFamily="34" charset="0"/>
              <a:cs typeface="Arial" panose="020B0604020202020204" pitchFamily="34" charset="0"/>
            </a:rPr>
            <a:t>GVTS </a:t>
          </a:r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Inauguration</a:t>
          </a:r>
          <a:endParaRPr lang="en-IN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0A7B83-F426-471D-8AF3-8C2E4C61CB95}" type="parTrans" cxnId="{35CF343A-0B60-47C9-9667-A4452068C2CE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D89F8D2-2C4E-41A7-B7B2-023FAF0AC04B}" type="sibTrans" cxnId="{35CF343A-0B60-47C9-9667-A4452068C2CE}">
      <dgm:prSet/>
      <dgm:spPr/>
      <dgm:t>
        <a:bodyPr/>
        <a:lstStyle/>
        <a:p>
          <a:endParaRPr lang="en-IN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ED7A57-9800-4284-AB2F-388DFF33D8CC}" type="pres">
      <dgm:prSet presAssocID="{941095E7-45A1-4913-82BB-9F0613FF1706}" presName="CompostProcess" presStyleCnt="0">
        <dgm:presLayoutVars>
          <dgm:dir/>
          <dgm:resizeHandles val="exact"/>
        </dgm:presLayoutVars>
      </dgm:prSet>
      <dgm:spPr/>
    </dgm:pt>
    <dgm:pt modelId="{DD6F5E0F-EF9D-4061-A4C0-BDBB155FDE99}" type="pres">
      <dgm:prSet presAssocID="{941095E7-45A1-4913-82BB-9F0613FF1706}" presName="arrow" presStyleLbl="bgShp" presStyleIdx="0" presStyleCnt="1"/>
      <dgm:spPr/>
    </dgm:pt>
    <dgm:pt modelId="{67571952-98B4-4E54-AC0C-90D076342CB7}" type="pres">
      <dgm:prSet presAssocID="{941095E7-45A1-4913-82BB-9F0613FF1706}" presName="linearProcess" presStyleCnt="0"/>
      <dgm:spPr/>
    </dgm:pt>
    <dgm:pt modelId="{6D4E30E8-6223-4BB9-996D-17F0C2C77CA7}" type="pres">
      <dgm:prSet presAssocID="{A2E10C56-17DA-492A-8D46-D671EA441E86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88926E-18C9-462F-A266-09B749038548}" type="pres">
      <dgm:prSet presAssocID="{884A26F8-0A7B-4F43-B053-4E71BC5178BE}" presName="sibTrans" presStyleCnt="0"/>
      <dgm:spPr/>
    </dgm:pt>
    <dgm:pt modelId="{F3C6379F-8E69-4166-BFC1-2DEB5464F47A}" type="pres">
      <dgm:prSet presAssocID="{529FF456-EFE6-4D91-A8FD-8419C2B579F6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49D6CA-6A47-4A4B-B6CD-0B5AD045F675}" type="pres">
      <dgm:prSet presAssocID="{5B68FBF0-5737-4F23-AD3E-628BD30D69A0}" presName="sibTrans" presStyleCnt="0"/>
      <dgm:spPr/>
    </dgm:pt>
    <dgm:pt modelId="{849D8E10-6C36-4E9F-B2BA-048D66C74934}" type="pres">
      <dgm:prSet presAssocID="{37983E40-8285-45AB-A62E-5030F6C5FC0D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FC4715-F10D-471F-AD75-D7D4712E4C70}" type="pres">
      <dgm:prSet presAssocID="{A0838F5E-3E00-4362-9CD1-F80FE34A79CD}" presName="sibTrans" presStyleCnt="0"/>
      <dgm:spPr/>
    </dgm:pt>
    <dgm:pt modelId="{68001A9F-5766-41D7-B07B-27F6BDCB5CE7}" type="pres">
      <dgm:prSet presAssocID="{805DDA25-6120-4AB2-976C-DDC69BDB7B35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5DF2DA-D945-4B4E-B322-6EDBCA3BB64F}" type="pres">
      <dgm:prSet presAssocID="{82D90DF2-4982-42A3-9076-6E82D92595FF}" presName="sibTrans" presStyleCnt="0"/>
      <dgm:spPr/>
    </dgm:pt>
    <dgm:pt modelId="{6756D13A-B988-4C90-9036-7C9CB4559FDE}" type="pres">
      <dgm:prSet presAssocID="{183B22F1-7D46-485D-8CD4-B7CB99EE8115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1C4B67-72A5-4D0F-80B8-3DD52E712C59}" type="pres">
      <dgm:prSet presAssocID="{6A218D0A-136B-40EB-878F-8143D7A7A8F2}" presName="sibTrans" presStyleCnt="0"/>
      <dgm:spPr/>
    </dgm:pt>
    <dgm:pt modelId="{8A982BBB-05FE-44EA-A287-F7E4A83A4914}" type="pres">
      <dgm:prSet presAssocID="{60B896DF-9C4F-4744-A4A2-53097F1031A4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662EBFB-EDCC-47CC-B1FB-A0D01F3DFD50}" srcId="{941095E7-45A1-4913-82BB-9F0613FF1706}" destId="{A2E10C56-17DA-492A-8D46-D671EA441E86}" srcOrd="0" destOrd="0" parTransId="{411B3922-C6C4-4F04-B2A3-AFE011AEDBF2}" sibTransId="{884A26F8-0A7B-4F43-B053-4E71BC5178BE}"/>
    <dgm:cxn modelId="{0063FAC1-0756-4CF9-B6D9-B2EC3D916616}" type="presOf" srcId="{60B896DF-9C4F-4744-A4A2-53097F1031A4}" destId="{8A982BBB-05FE-44EA-A287-F7E4A83A4914}" srcOrd="0" destOrd="0" presId="urn:microsoft.com/office/officeart/2005/8/layout/hProcess9"/>
    <dgm:cxn modelId="{560C2B2C-3810-4182-9007-3CD405713A5A}" type="presOf" srcId="{529FF456-EFE6-4D91-A8FD-8419C2B579F6}" destId="{F3C6379F-8E69-4166-BFC1-2DEB5464F47A}" srcOrd="0" destOrd="0" presId="urn:microsoft.com/office/officeart/2005/8/layout/hProcess9"/>
    <dgm:cxn modelId="{F29057A5-2159-4CD9-8405-E3C089FA5199}" type="presOf" srcId="{37983E40-8285-45AB-A62E-5030F6C5FC0D}" destId="{849D8E10-6C36-4E9F-B2BA-048D66C74934}" srcOrd="0" destOrd="0" presId="urn:microsoft.com/office/officeart/2005/8/layout/hProcess9"/>
    <dgm:cxn modelId="{BC974840-4A16-4A0B-AFA2-F7866A1858B1}" srcId="{941095E7-45A1-4913-82BB-9F0613FF1706}" destId="{805DDA25-6120-4AB2-976C-DDC69BDB7B35}" srcOrd="3" destOrd="0" parTransId="{F8483BAC-A81C-4A1A-974B-6E801A011C2C}" sibTransId="{82D90DF2-4982-42A3-9076-6E82D92595FF}"/>
    <dgm:cxn modelId="{E3020E80-EB0F-4FC2-B58A-DEB849E318E5}" type="presOf" srcId="{941095E7-45A1-4913-82BB-9F0613FF1706}" destId="{BEED7A57-9800-4284-AB2F-388DFF33D8CC}" srcOrd="0" destOrd="0" presId="urn:microsoft.com/office/officeart/2005/8/layout/hProcess9"/>
    <dgm:cxn modelId="{35CF343A-0B60-47C9-9667-A4452068C2CE}" srcId="{941095E7-45A1-4913-82BB-9F0613FF1706}" destId="{60B896DF-9C4F-4744-A4A2-53097F1031A4}" srcOrd="5" destOrd="0" parTransId="{170A7B83-F426-471D-8AF3-8C2E4C61CB95}" sibTransId="{1D89F8D2-2C4E-41A7-B7B2-023FAF0AC04B}"/>
    <dgm:cxn modelId="{6C2A395D-463C-4E3F-B8A3-2EF5B4E1354F}" srcId="{941095E7-45A1-4913-82BB-9F0613FF1706}" destId="{37983E40-8285-45AB-A62E-5030F6C5FC0D}" srcOrd="2" destOrd="0" parTransId="{0AD83D82-CBCE-4B7D-B9A6-55710D99D766}" sibTransId="{A0838F5E-3E00-4362-9CD1-F80FE34A79CD}"/>
    <dgm:cxn modelId="{C5BF8311-34AB-4DCB-9A2A-D17623DD60C2}" srcId="{941095E7-45A1-4913-82BB-9F0613FF1706}" destId="{183B22F1-7D46-485D-8CD4-B7CB99EE8115}" srcOrd="4" destOrd="0" parTransId="{6A4730DE-8E38-4DBC-8723-75FF761BE9BD}" sibTransId="{6A218D0A-136B-40EB-878F-8143D7A7A8F2}"/>
    <dgm:cxn modelId="{75652ACC-AAA3-4F87-9B3A-9061AE764137}" type="presOf" srcId="{183B22F1-7D46-485D-8CD4-B7CB99EE8115}" destId="{6756D13A-B988-4C90-9036-7C9CB4559FDE}" srcOrd="0" destOrd="0" presId="urn:microsoft.com/office/officeart/2005/8/layout/hProcess9"/>
    <dgm:cxn modelId="{C9F777EB-E78D-49A4-86BD-43D9A4E47E86}" type="presOf" srcId="{A2E10C56-17DA-492A-8D46-D671EA441E86}" destId="{6D4E30E8-6223-4BB9-996D-17F0C2C77CA7}" srcOrd="0" destOrd="0" presId="urn:microsoft.com/office/officeart/2005/8/layout/hProcess9"/>
    <dgm:cxn modelId="{C8E75487-3B6C-4710-A7B2-E85D59DB7A92}" type="presOf" srcId="{805DDA25-6120-4AB2-976C-DDC69BDB7B35}" destId="{68001A9F-5766-41D7-B07B-27F6BDCB5CE7}" srcOrd="0" destOrd="0" presId="urn:microsoft.com/office/officeart/2005/8/layout/hProcess9"/>
    <dgm:cxn modelId="{343B68D6-6B0E-4782-B9CD-4E2496A4B9F2}" srcId="{941095E7-45A1-4913-82BB-9F0613FF1706}" destId="{529FF456-EFE6-4D91-A8FD-8419C2B579F6}" srcOrd="1" destOrd="0" parTransId="{70AA1560-575C-485E-9393-B1B8E72B647E}" sibTransId="{5B68FBF0-5737-4F23-AD3E-628BD30D69A0}"/>
    <dgm:cxn modelId="{9F20A789-DEBF-4A91-AC0A-502EA701834D}" type="presParOf" srcId="{BEED7A57-9800-4284-AB2F-388DFF33D8CC}" destId="{DD6F5E0F-EF9D-4061-A4C0-BDBB155FDE99}" srcOrd="0" destOrd="0" presId="urn:microsoft.com/office/officeart/2005/8/layout/hProcess9"/>
    <dgm:cxn modelId="{E2FD9459-3031-4595-B1C2-0A0A1A3F1602}" type="presParOf" srcId="{BEED7A57-9800-4284-AB2F-388DFF33D8CC}" destId="{67571952-98B4-4E54-AC0C-90D076342CB7}" srcOrd="1" destOrd="0" presId="urn:microsoft.com/office/officeart/2005/8/layout/hProcess9"/>
    <dgm:cxn modelId="{024F6676-A138-4634-82CC-6816F4AA9EE5}" type="presParOf" srcId="{67571952-98B4-4E54-AC0C-90D076342CB7}" destId="{6D4E30E8-6223-4BB9-996D-17F0C2C77CA7}" srcOrd="0" destOrd="0" presId="urn:microsoft.com/office/officeart/2005/8/layout/hProcess9"/>
    <dgm:cxn modelId="{1215DBE3-1CAE-4437-B6FD-C115B2237940}" type="presParOf" srcId="{67571952-98B4-4E54-AC0C-90D076342CB7}" destId="{0888926E-18C9-462F-A266-09B749038548}" srcOrd="1" destOrd="0" presId="urn:microsoft.com/office/officeart/2005/8/layout/hProcess9"/>
    <dgm:cxn modelId="{18A63270-ECC9-4874-874F-3CE6213CF4F8}" type="presParOf" srcId="{67571952-98B4-4E54-AC0C-90D076342CB7}" destId="{F3C6379F-8E69-4166-BFC1-2DEB5464F47A}" srcOrd="2" destOrd="0" presId="urn:microsoft.com/office/officeart/2005/8/layout/hProcess9"/>
    <dgm:cxn modelId="{2951B8A5-FCA9-40E9-A806-A1755A1F8B57}" type="presParOf" srcId="{67571952-98B4-4E54-AC0C-90D076342CB7}" destId="{5C49D6CA-6A47-4A4B-B6CD-0B5AD045F675}" srcOrd="3" destOrd="0" presId="urn:microsoft.com/office/officeart/2005/8/layout/hProcess9"/>
    <dgm:cxn modelId="{CA6EF83C-41DD-40D7-9775-A4678B23BB6C}" type="presParOf" srcId="{67571952-98B4-4E54-AC0C-90D076342CB7}" destId="{849D8E10-6C36-4E9F-B2BA-048D66C74934}" srcOrd="4" destOrd="0" presId="urn:microsoft.com/office/officeart/2005/8/layout/hProcess9"/>
    <dgm:cxn modelId="{DDEC0886-DC8F-4B77-AD8E-F713FE885215}" type="presParOf" srcId="{67571952-98B4-4E54-AC0C-90D076342CB7}" destId="{E7FC4715-F10D-471F-AD75-D7D4712E4C70}" srcOrd="5" destOrd="0" presId="urn:microsoft.com/office/officeart/2005/8/layout/hProcess9"/>
    <dgm:cxn modelId="{557A2562-9280-4BAA-8B47-0683CA6AE1DE}" type="presParOf" srcId="{67571952-98B4-4E54-AC0C-90D076342CB7}" destId="{68001A9F-5766-41D7-B07B-27F6BDCB5CE7}" srcOrd="6" destOrd="0" presId="urn:microsoft.com/office/officeart/2005/8/layout/hProcess9"/>
    <dgm:cxn modelId="{F6429D12-E064-4822-9627-29078314B51F}" type="presParOf" srcId="{67571952-98B4-4E54-AC0C-90D076342CB7}" destId="{365DF2DA-D945-4B4E-B322-6EDBCA3BB64F}" srcOrd="7" destOrd="0" presId="urn:microsoft.com/office/officeart/2005/8/layout/hProcess9"/>
    <dgm:cxn modelId="{0F63D03C-7B9A-4429-8633-55E50FB5D6FC}" type="presParOf" srcId="{67571952-98B4-4E54-AC0C-90D076342CB7}" destId="{6756D13A-B988-4C90-9036-7C9CB4559FDE}" srcOrd="8" destOrd="0" presId="urn:microsoft.com/office/officeart/2005/8/layout/hProcess9"/>
    <dgm:cxn modelId="{506CF56B-BFE3-43E8-8645-E7A5D6DC7B30}" type="presParOf" srcId="{67571952-98B4-4E54-AC0C-90D076342CB7}" destId="{551C4B67-72A5-4D0F-80B8-3DD52E712C59}" srcOrd="9" destOrd="0" presId="urn:microsoft.com/office/officeart/2005/8/layout/hProcess9"/>
    <dgm:cxn modelId="{BDFFB5D6-6B1F-48B5-B7DF-9DBA40137358}" type="presParOf" srcId="{67571952-98B4-4E54-AC0C-90D076342CB7}" destId="{8A982BBB-05FE-44EA-A287-F7E4A83A4914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F18293F-D97E-44F2-9887-A270000D6325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69E408FD-6659-447C-85E9-8FD59CDDC3AF}">
      <dgm:prSet phldrT="[Text]"/>
      <dgm:spPr/>
      <dgm:t>
        <a:bodyPr/>
        <a:lstStyle/>
        <a:p>
          <a:r>
            <a:rPr lang="en-US" dirty="0"/>
            <a:t>GVTS</a:t>
          </a:r>
          <a:endParaRPr lang="en-IN" dirty="0"/>
        </a:p>
      </dgm:t>
    </dgm:pt>
    <dgm:pt modelId="{758D6171-1AE9-4AD1-8728-5B63896176EA}" type="parTrans" cxnId="{569B001B-4C24-4D80-8F65-B74B7C219946}">
      <dgm:prSet/>
      <dgm:spPr/>
      <dgm:t>
        <a:bodyPr/>
        <a:lstStyle/>
        <a:p>
          <a:endParaRPr lang="en-IN"/>
        </a:p>
      </dgm:t>
    </dgm:pt>
    <dgm:pt modelId="{78835C3D-2EA9-4B9E-9C9D-4B4DACCDDD68}" type="sibTrans" cxnId="{569B001B-4C24-4D80-8F65-B74B7C219946}">
      <dgm:prSet/>
      <dgm:spPr/>
      <dgm:t>
        <a:bodyPr/>
        <a:lstStyle/>
        <a:p>
          <a:endParaRPr lang="en-IN"/>
        </a:p>
      </dgm:t>
    </dgm:pt>
    <dgm:pt modelId="{DCB64F1B-031C-47DE-BF23-B9AB1668664E}">
      <dgm:prSet phldrT="[Text]"/>
      <dgm:spPr/>
      <dgm:t>
        <a:bodyPr/>
        <a:lstStyle/>
        <a:p>
          <a:r>
            <a:rPr lang="en-US" dirty="0"/>
            <a:t>NGO’s</a:t>
          </a:r>
          <a:endParaRPr lang="en-IN" dirty="0"/>
        </a:p>
      </dgm:t>
    </dgm:pt>
    <dgm:pt modelId="{9ED15D5E-6EC5-46AF-AC2A-8EF291DB2F56}" type="parTrans" cxnId="{039EF47C-38BB-433A-84D4-1DCAA9CB1B39}">
      <dgm:prSet/>
      <dgm:spPr/>
      <dgm:t>
        <a:bodyPr/>
        <a:lstStyle/>
        <a:p>
          <a:endParaRPr lang="en-IN"/>
        </a:p>
      </dgm:t>
    </dgm:pt>
    <dgm:pt modelId="{35A65DAF-5A5E-4B24-9099-23C38A883FC7}" type="sibTrans" cxnId="{039EF47C-38BB-433A-84D4-1DCAA9CB1B39}">
      <dgm:prSet/>
      <dgm:spPr/>
      <dgm:t>
        <a:bodyPr/>
        <a:lstStyle/>
        <a:p>
          <a:endParaRPr lang="en-IN"/>
        </a:p>
      </dgm:t>
    </dgm:pt>
    <dgm:pt modelId="{4B8FAC81-08DE-44E8-AC4A-199B013CEF9A}">
      <dgm:prSet phldrT="[Text]"/>
      <dgm:spPr/>
      <dgm:t>
        <a:bodyPr/>
        <a:lstStyle/>
        <a:p>
          <a:r>
            <a:rPr lang="en-US" dirty="0"/>
            <a:t>Art of Living (SSRDP)</a:t>
          </a:r>
          <a:endParaRPr lang="en-IN" dirty="0"/>
        </a:p>
      </dgm:t>
    </dgm:pt>
    <dgm:pt modelId="{83DA8C70-AF2B-41F2-83A6-E6CEE6F0BC87}" type="parTrans" cxnId="{E92B8AF2-3C52-415A-AC57-2C0157099097}">
      <dgm:prSet/>
      <dgm:spPr/>
      <dgm:t>
        <a:bodyPr/>
        <a:lstStyle/>
        <a:p>
          <a:endParaRPr lang="en-IN"/>
        </a:p>
      </dgm:t>
    </dgm:pt>
    <dgm:pt modelId="{A5F52F04-BCBE-4310-865D-0913C8E76D43}" type="sibTrans" cxnId="{E92B8AF2-3C52-415A-AC57-2C0157099097}">
      <dgm:prSet/>
      <dgm:spPr/>
      <dgm:t>
        <a:bodyPr/>
        <a:lstStyle/>
        <a:p>
          <a:endParaRPr lang="en-IN"/>
        </a:p>
      </dgm:t>
    </dgm:pt>
    <dgm:pt modelId="{FCA21171-DFF4-44F7-B785-6E27492F69CD}">
      <dgm:prSet phldrT="[Text]"/>
      <dgm:spPr/>
      <dgm:t>
        <a:bodyPr/>
        <a:lstStyle/>
        <a:p>
          <a:r>
            <a:rPr lang="en-US" dirty="0"/>
            <a:t>Training Institute</a:t>
          </a:r>
          <a:endParaRPr lang="en-IN" dirty="0"/>
        </a:p>
      </dgm:t>
    </dgm:pt>
    <dgm:pt modelId="{7022B312-1F96-4A34-B294-8BC7789958E6}" type="parTrans" cxnId="{2655C0FA-698C-4763-8758-9B69A369F2CE}">
      <dgm:prSet/>
      <dgm:spPr/>
      <dgm:t>
        <a:bodyPr/>
        <a:lstStyle/>
        <a:p>
          <a:endParaRPr lang="en-IN"/>
        </a:p>
      </dgm:t>
    </dgm:pt>
    <dgm:pt modelId="{D1FD4C8E-DB9B-483B-A2D8-593A56395945}" type="sibTrans" cxnId="{2655C0FA-698C-4763-8758-9B69A369F2CE}">
      <dgm:prSet/>
      <dgm:spPr/>
      <dgm:t>
        <a:bodyPr/>
        <a:lstStyle/>
        <a:p>
          <a:endParaRPr lang="en-IN"/>
        </a:p>
      </dgm:t>
    </dgm:pt>
    <dgm:pt modelId="{B2F45611-0C89-4C00-8EF6-6C974D578900}">
      <dgm:prSet phldrT="[Text]"/>
      <dgm:spPr/>
      <dgm:t>
        <a:bodyPr/>
        <a:lstStyle/>
        <a:p>
          <a:r>
            <a:rPr lang="en-US" dirty="0"/>
            <a:t>Don Bosco Society</a:t>
          </a:r>
          <a:endParaRPr lang="en-IN" dirty="0"/>
        </a:p>
      </dgm:t>
    </dgm:pt>
    <dgm:pt modelId="{8AA96D15-380F-4427-9014-ED2F06A697F3}" type="parTrans" cxnId="{70CD98D1-51AC-45B8-A7D7-25455657E502}">
      <dgm:prSet/>
      <dgm:spPr/>
      <dgm:t>
        <a:bodyPr/>
        <a:lstStyle/>
        <a:p>
          <a:endParaRPr lang="en-IN"/>
        </a:p>
      </dgm:t>
    </dgm:pt>
    <dgm:pt modelId="{B223DD4B-49B9-4B82-B309-37194013A1AE}" type="sibTrans" cxnId="{70CD98D1-51AC-45B8-A7D7-25455657E502}">
      <dgm:prSet/>
      <dgm:spPr/>
      <dgm:t>
        <a:bodyPr/>
        <a:lstStyle/>
        <a:p>
          <a:endParaRPr lang="en-IN"/>
        </a:p>
      </dgm:t>
    </dgm:pt>
    <dgm:pt modelId="{CCE4E7A0-2F67-4D81-AC50-ABF04CCBF9CF}">
      <dgm:prSet phldrT="[Text]"/>
      <dgm:spPr/>
      <dgm:t>
        <a:bodyPr/>
        <a:lstStyle/>
        <a:p>
          <a:r>
            <a:rPr lang="en-IN" b="0" i="0" u="none" dirty="0" err="1"/>
            <a:t>M.S.Ramaiah</a:t>
          </a:r>
          <a:r>
            <a:rPr lang="en-IN" b="1" i="0" u="none" dirty="0"/>
            <a:t> </a:t>
          </a:r>
          <a:r>
            <a:rPr lang="en-IN" b="0" i="0" u="none" dirty="0"/>
            <a:t>Polytechnic</a:t>
          </a:r>
          <a:endParaRPr lang="en-IN" b="0" dirty="0"/>
        </a:p>
      </dgm:t>
    </dgm:pt>
    <dgm:pt modelId="{490EB11F-F59A-4E66-8B17-D5A5426D969C}" type="parTrans" cxnId="{B4028549-8698-4E91-B5CD-41D4BA0ED2F6}">
      <dgm:prSet/>
      <dgm:spPr/>
      <dgm:t>
        <a:bodyPr/>
        <a:lstStyle/>
        <a:p>
          <a:endParaRPr lang="en-IN"/>
        </a:p>
      </dgm:t>
    </dgm:pt>
    <dgm:pt modelId="{4C2FA2C9-0C69-4E02-95DB-27B4652A16B9}" type="sibTrans" cxnId="{B4028549-8698-4E91-B5CD-41D4BA0ED2F6}">
      <dgm:prSet/>
      <dgm:spPr/>
      <dgm:t>
        <a:bodyPr/>
        <a:lstStyle/>
        <a:p>
          <a:endParaRPr lang="en-IN"/>
        </a:p>
      </dgm:t>
    </dgm:pt>
    <dgm:pt modelId="{2AE89A91-9A87-4C0A-A600-8E757B987889}">
      <dgm:prSet phldrT="[Text]"/>
      <dgm:spPr/>
      <dgm:t>
        <a:bodyPr/>
        <a:lstStyle/>
        <a:p>
          <a:r>
            <a:rPr lang="en-US" b="0" dirty="0"/>
            <a:t>Organizations</a:t>
          </a:r>
          <a:endParaRPr lang="en-IN" b="0" dirty="0"/>
        </a:p>
      </dgm:t>
    </dgm:pt>
    <dgm:pt modelId="{7FD13617-2919-435C-A463-B4D5836873BC}" type="parTrans" cxnId="{C80337CC-EED9-4064-BCA2-58CA7BADF299}">
      <dgm:prSet/>
      <dgm:spPr/>
      <dgm:t>
        <a:bodyPr/>
        <a:lstStyle/>
        <a:p>
          <a:endParaRPr lang="en-IN"/>
        </a:p>
      </dgm:t>
    </dgm:pt>
    <dgm:pt modelId="{7E7E1586-2182-4D8B-A154-E0674F9F7B73}" type="sibTrans" cxnId="{C80337CC-EED9-4064-BCA2-58CA7BADF299}">
      <dgm:prSet/>
      <dgm:spPr/>
      <dgm:t>
        <a:bodyPr/>
        <a:lstStyle/>
        <a:p>
          <a:endParaRPr lang="en-IN"/>
        </a:p>
      </dgm:t>
    </dgm:pt>
    <dgm:pt modelId="{385B4080-83C5-4BED-B559-AED02F3E521E}">
      <dgm:prSet phldrT="[Text]"/>
      <dgm:spPr/>
      <dgm:t>
        <a:bodyPr/>
        <a:lstStyle/>
        <a:p>
          <a:r>
            <a:rPr lang="en-US" b="0" dirty="0"/>
            <a:t>Future Sharp</a:t>
          </a:r>
          <a:endParaRPr lang="en-IN" b="0" dirty="0"/>
        </a:p>
      </dgm:t>
    </dgm:pt>
    <dgm:pt modelId="{8A976607-4919-44A7-989B-C7297FBCBE53}" type="parTrans" cxnId="{C9E43D5D-057E-4F0F-8D06-3DA8ABDD3B05}">
      <dgm:prSet/>
      <dgm:spPr/>
      <dgm:t>
        <a:bodyPr/>
        <a:lstStyle/>
        <a:p>
          <a:endParaRPr lang="en-IN"/>
        </a:p>
      </dgm:t>
    </dgm:pt>
    <dgm:pt modelId="{E0736B56-21BB-455C-A45F-53D61D67965C}" type="sibTrans" cxnId="{C9E43D5D-057E-4F0F-8D06-3DA8ABDD3B05}">
      <dgm:prSet/>
      <dgm:spPr/>
      <dgm:t>
        <a:bodyPr/>
        <a:lstStyle/>
        <a:p>
          <a:endParaRPr lang="en-IN"/>
        </a:p>
      </dgm:t>
    </dgm:pt>
    <dgm:pt modelId="{7F55ABF1-23D2-446D-8CAD-41CC93420C23}">
      <dgm:prSet phldrT="[Text]"/>
      <dgm:spPr/>
      <dgm:t>
        <a:bodyPr/>
        <a:lstStyle/>
        <a:p>
          <a:r>
            <a:rPr lang="en-US" b="0" dirty="0"/>
            <a:t>IL&amp;FS</a:t>
          </a:r>
          <a:endParaRPr lang="en-IN" b="0" dirty="0"/>
        </a:p>
      </dgm:t>
    </dgm:pt>
    <dgm:pt modelId="{D10C837E-5999-4059-B0EA-4D0950A7520E}" type="parTrans" cxnId="{2DA94CB0-1C23-4692-BD5F-EE32A48CB624}">
      <dgm:prSet/>
      <dgm:spPr/>
      <dgm:t>
        <a:bodyPr/>
        <a:lstStyle/>
        <a:p>
          <a:endParaRPr lang="en-IN"/>
        </a:p>
      </dgm:t>
    </dgm:pt>
    <dgm:pt modelId="{72284C92-E215-4E36-8F82-54D3EAF128D3}" type="sibTrans" cxnId="{2DA94CB0-1C23-4692-BD5F-EE32A48CB624}">
      <dgm:prSet/>
      <dgm:spPr/>
      <dgm:t>
        <a:bodyPr/>
        <a:lstStyle/>
        <a:p>
          <a:endParaRPr lang="en-IN"/>
        </a:p>
      </dgm:t>
    </dgm:pt>
    <dgm:pt modelId="{1972A189-1CBB-4A5E-BC22-D6F75FFC160E}">
      <dgm:prSet phldrT="[Text]"/>
      <dgm:spPr/>
      <dgm:t>
        <a:bodyPr/>
        <a:lstStyle/>
        <a:p>
          <a:r>
            <a:rPr lang="en-US" b="0" dirty="0"/>
            <a:t>ASP</a:t>
          </a:r>
          <a:endParaRPr lang="en-IN" b="0" dirty="0"/>
        </a:p>
      </dgm:t>
    </dgm:pt>
    <dgm:pt modelId="{F54CE72F-3699-4CC3-A601-6A6D69AE8102}" type="parTrans" cxnId="{488C04CF-27A2-4A1A-B315-18B5D5DFA0D6}">
      <dgm:prSet/>
      <dgm:spPr/>
      <dgm:t>
        <a:bodyPr/>
        <a:lstStyle/>
        <a:p>
          <a:endParaRPr lang="en-IN"/>
        </a:p>
      </dgm:t>
    </dgm:pt>
    <dgm:pt modelId="{4FA2BE90-65A5-4F0B-825E-AA85CF11BE8F}" type="sibTrans" cxnId="{488C04CF-27A2-4A1A-B315-18B5D5DFA0D6}">
      <dgm:prSet/>
      <dgm:spPr/>
      <dgm:t>
        <a:bodyPr/>
        <a:lstStyle/>
        <a:p>
          <a:endParaRPr lang="en-IN"/>
        </a:p>
      </dgm:t>
    </dgm:pt>
    <dgm:pt modelId="{2E0D154A-CE6A-4E1C-91F1-864A5447ADF1}">
      <dgm:prSet phldrT="[Text]"/>
      <dgm:spPr/>
      <dgm:t>
        <a:bodyPr/>
        <a:lstStyle/>
        <a:p>
          <a:r>
            <a:rPr lang="en-US" b="0" dirty="0"/>
            <a:t>Sure Tech</a:t>
          </a:r>
          <a:endParaRPr lang="en-IN" b="0" dirty="0"/>
        </a:p>
      </dgm:t>
    </dgm:pt>
    <dgm:pt modelId="{85FDB56C-153C-4FC2-BC3E-FD651D30E5D8}" type="parTrans" cxnId="{670A29A5-428D-4EB3-A4B0-81250E632051}">
      <dgm:prSet/>
      <dgm:spPr/>
      <dgm:t>
        <a:bodyPr/>
        <a:lstStyle/>
        <a:p>
          <a:endParaRPr lang="en-IN"/>
        </a:p>
      </dgm:t>
    </dgm:pt>
    <dgm:pt modelId="{283B2D8D-40EF-40A7-AAA1-05C398505615}" type="sibTrans" cxnId="{670A29A5-428D-4EB3-A4B0-81250E632051}">
      <dgm:prSet/>
      <dgm:spPr/>
      <dgm:t>
        <a:bodyPr/>
        <a:lstStyle/>
        <a:p>
          <a:endParaRPr lang="en-IN"/>
        </a:p>
      </dgm:t>
    </dgm:pt>
    <dgm:pt modelId="{A8944C56-2FD9-4480-B2C5-EB3D4C01B6D3}">
      <dgm:prSet phldrT="[Text]"/>
      <dgm:spPr/>
      <dgm:t>
        <a:bodyPr/>
        <a:lstStyle/>
        <a:p>
          <a:r>
            <a:rPr lang="en-US" b="0" dirty="0"/>
            <a:t>J S Services</a:t>
          </a:r>
          <a:endParaRPr lang="en-IN" b="0" dirty="0"/>
        </a:p>
      </dgm:t>
    </dgm:pt>
    <dgm:pt modelId="{4B6559D8-AAFE-457B-8F67-1801B0D17086}" type="parTrans" cxnId="{F86B9FEF-E148-435D-9283-87DB028A0342}">
      <dgm:prSet/>
      <dgm:spPr/>
      <dgm:t>
        <a:bodyPr/>
        <a:lstStyle/>
        <a:p>
          <a:endParaRPr lang="en-IN"/>
        </a:p>
      </dgm:t>
    </dgm:pt>
    <dgm:pt modelId="{E2E01494-85D2-474A-813A-E1D39F6AA230}" type="sibTrans" cxnId="{F86B9FEF-E148-435D-9283-87DB028A0342}">
      <dgm:prSet/>
      <dgm:spPr/>
      <dgm:t>
        <a:bodyPr/>
        <a:lstStyle/>
        <a:p>
          <a:endParaRPr lang="en-IN"/>
        </a:p>
      </dgm:t>
    </dgm:pt>
    <dgm:pt modelId="{50C6C8C4-4143-4E9D-B12B-85D318FA8FEB}">
      <dgm:prSet phldrT="[Text]"/>
      <dgm:spPr/>
      <dgm:t>
        <a:bodyPr/>
        <a:lstStyle/>
        <a:p>
          <a:r>
            <a:rPr lang="en-US" dirty="0"/>
            <a:t>B-Able</a:t>
          </a:r>
          <a:endParaRPr lang="en-IN" dirty="0"/>
        </a:p>
      </dgm:t>
    </dgm:pt>
    <dgm:pt modelId="{DA0F444E-BD3A-46B1-ADAE-36DFC9E5AFE9}" type="parTrans" cxnId="{04F7CB24-89A9-4C4E-8B84-7D48D483116A}">
      <dgm:prSet/>
      <dgm:spPr/>
      <dgm:t>
        <a:bodyPr/>
        <a:lstStyle/>
        <a:p>
          <a:endParaRPr lang="en-IN"/>
        </a:p>
      </dgm:t>
    </dgm:pt>
    <dgm:pt modelId="{31EED597-540C-4BB6-BC68-D7BC30F6C3D2}" type="sibTrans" cxnId="{04F7CB24-89A9-4C4E-8B84-7D48D483116A}">
      <dgm:prSet/>
      <dgm:spPr/>
      <dgm:t>
        <a:bodyPr/>
        <a:lstStyle/>
        <a:p>
          <a:endParaRPr lang="en-IN"/>
        </a:p>
      </dgm:t>
    </dgm:pt>
    <dgm:pt modelId="{CEC801DE-C529-4FF6-A97C-7C080F5757CB}" type="pres">
      <dgm:prSet presAssocID="{6F18293F-D97E-44F2-9887-A270000D632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A8EAC7CC-7BF9-45D7-8DC2-7CE42F0853F7}" type="pres">
      <dgm:prSet presAssocID="{69E408FD-6659-447C-85E9-8FD59CDDC3AF}" presName="hierRoot1" presStyleCnt="0"/>
      <dgm:spPr/>
    </dgm:pt>
    <dgm:pt modelId="{99B035AC-A5D5-4F6B-9605-7E8658CA1E57}" type="pres">
      <dgm:prSet presAssocID="{69E408FD-6659-447C-85E9-8FD59CDDC3AF}" presName="composite" presStyleCnt="0"/>
      <dgm:spPr/>
    </dgm:pt>
    <dgm:pt modelId="{CA90D551-E1CB-484D-AF55-0A16ACB27396}" type="pres">
      <dgm:prSet presAssocID="{69E408FD-6659-447C-85E9-8FD59CDDC3AF}" presName="background" presStyleLbl="node0" presStyleIdx="0" presStyleCnt="1"/>
      <dgm:spPr/>
    </dgm:pt>
    <dgm:pt modelId="{938A527D-9C04-48A6-A67E-A177F47E6789}" type="pres">
      <dgm:prSet presAssocID="{69E408FD-6659-447C-85E9-8FD59CDDC3AF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F1DF494-2E31-4596-9217-0A460DC5241C}" type="pres">
      <dgm:prSet presAssocID="{69E408FD-6659-447C-85E9-8FD59CDDC3AF}" presName="hierChild2" presStyleCnt="0"/>
      <dgm:spPr/>
    </dgm:pt>
    <dgm:pt modelId="{077ACD26-13C9-46BC-87AB-632AF09FCA0B}" type="pres">
      <dgm:prSet presAssocID="{9ED15D5E-6EC5-46AF-AC2A-8EF291DB2F56}" presName="Name10" presStyleLbl="parChTrans1D2" presStyleIdx="0" presStyleCnt="4"/>
      <dgm:spPr/>
      <dgm:t>
        <a:bodyPr/>
        <a:lstStyle/>
        <a:p>
          <a:endParaRPr lang="en-US"/>
        </a:p>
      </dgm:t>
    </dgm:pt>
    <dgm:pt modelId="{F5886601-C949-48FE-93AD-0C87F3803F25}" type="pres">
      <dgm:prSet presAssocID="{DCB64F1B-031C-47DE-BF23-B9AB1668664E}" presName="hierRoot2" presStyleCnt="0"/>
      <dgm:spPr/>
    </dgm:pt>
    <dgm:pt modelId="{D02524F4-1281-4C28-B898-8C0F59ECB4C5}" type="pres">
      <dgm:prSet presAssocID="{DCB64F1B-031C-47DE-BF23-B9AB1668664E}" presName="composite2" presStyleCnt="0"/>
      <dgm:spPr/>
    </dgm:pt>
    <dgm:pt modelId="{C5DA8261-B4A0-4403-9873-3CB4B057BED3}" type="pres">
      <dgm:prSet presAssocID="{DCB64F1B-031C-47DE-BF23-B9AB1668664E}" presName="background2" presStyleLbl="node2" presStyleIdx="0" presStyleCnt="4"/>
      <dgm:spPr/>
    </dgm:pt>
    <dgm:pt modelId="{A68B1810-2B8B-494E-B0E6-649058124AA9}" type="pres">
      <dgm:prSet presAssocID="{DCB64F1B-031C-47DE-BF23-B9AB1668664E}" presName="text2" presStyleLbl="fgAcc2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1BFF12B-6DAC-4854-B207-B3154632619E}" type="pres">
      <dgm:prSet presAssocID="{DCB64F1B-031C-47DE-BF23-B9AB1668664E}" presName="hierChild3" presStyleCnt="0"/>
      <dgm:spPr/>
    </dgm:pt>
    <dgm:pt modelId="{4EC94A6B-487F-4923-BDA7-5EE5F766BD04}" type="pres">
      <dgm:prSet presAssocID="{83DA8C70-AF2B-41F2-83A6-E6CEE6F0BC87}" presName="Name17" presStyleLbl="parChTrans1D3" presStyleIdx="0" presStyleCnt="4"/>
      <dgm:spPr/>
      <dgm:t>
        <a:bodyPr/>
        <a:lstStyle/>
        <a:p>
          <a:endParaRPr lang="en-US"/>
        </a:p>
      </dgm:t>
    </dgm:pt>
    <dgm:pt modelId="{D22BEAC5-71A4-4FA8-A050-F4C6E9DF2FEF}" type="pres">
      <dgm:prSet presAssocID="{4B8FAC81-08DE-44E8-AC4A-199B013CEF9A}" presName="hierRoot3" presStyleCnt="0"/>
      <dgm:spPr/>
    </dgm:pt>
    <dgm:pt modelId="{B1673099-D0ED-4207-8D25-420150E86E5A}" type="pres">
      <dgm:prSet presAssocID="{4B8FAC81-08DE-44E8-AC4A-199B013CEF9A}" presName="composite3" presStyleCnt="0"/>
      <dgm:spPr/>
    </dgm:pt>
    <dgm:pt modelId="{57CB5379-038D-4B92-A267-A14E72BF120E}" type="pres">
      <dgm:prSet presAssocID="{4B8FAC81-08DE-44E8-AC4A-199B013CEF9A}" presName="background3" presStyleLbl="node3" presStyleIdx="0" presStyleCnt="4"/>
      <dgm:spPr/>
    </dgm:pt>
    <dgm:pt modelId="{DB0E40EF-7560-4B26-A081-77BD01EECFB7}" type="pres">
      <dgm:prSet presAssocID="{4B8FAC81-08DE-44E8-AC4A-199B013CEF9A}" presName="text3" presStyleLbl="fgAcc3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228300A-8C69-475C-A331-1F538411CCD5}" type="pres">
      <dgm:prSet presAssocID="{4B8FAC81-08DE-44E8-AC4A-199B013CEF9A}" presName="hierChild4" presStyleCnt="0"/>
      <dgm:spPr/>
    </dgm:pt>
    <dgm:pt modelId="{953A8167-0924-4B4A-A0D4-0BA9E2DC28C6}" type="pres">
      <dgm:prSet presAssocID="{DA0F444E-BD3A-46B1-ADAE-36DFC9E5AFE9}" presName="Name23" presStyleLbl="parChTrans1D4" presStyleIdx="0" presStyleCnt="4"/>
      <dgm:spPr/>
      <dgm:t>
        <a:bodyPr/>
        <a:lstStyle/>
        <a:p>
          <a:endParaRPr lang="en-US"/>
        </a:p>
      </dgm:t>
    </dgm:pt>
    <dgm:pt modelId="{77D9E894-0F7F-461A-B44A-9E00DAFC0479}" type="pres">
      <dgm:prSet presAssocID="{50C6C8C4-4143-4E9D-B12B-85D318FA8FEB}" presName="hierRoot4" presStyleCnt="0"/>
      <dgm:spPr/>
    </dgm:pt>
    <dgm:pt modelId="{971E6DD8-A291-4585-B13B-49CF1A5E43D3}" type="pres">
      <dgm:prSet presAssocID="{50C6C8C4-4143-4E9D-B12B-85D318FA8FEB}" presName="composite4" presStyleCnt="0"/>
      <dgm:spPr/>
    </dgm:pt>
    <dgm:pt modelId="{41B26BAB-2E4B-4DB4-AEB6-D1125D69BD95}" type="pres">
      <dgm:prSet presAssocID="{50C6C8C4-4143-4E9D-B12B-85D318FA8FEB}" presName="background4" presStyleLbl="node4" presStyleIdx="0" presStyleCnt="4"/>
      <dgm:spPr/>
    </dgm:pt>
    <dgm:pt modelId="{1C2520C7-42B9-45DE-A8DA-EF2D3EF7750A}" type="pres">
      <dgm:prSet presAssocID="{50C6C8C4-4143-4E9D-B12B-85D318FA8FEB}" presName="text4" presStyleLbl="fgAcc4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C09F363-19E1-4790-B9AB-8E6E4A5E639C}" type="pres">
      <dgm:prSet presAssocID="{50C6C8C4-4143-4E9D-B12B-85D318FA8FEB}" presName="hierChild5" presStyleCnt="0"/>
      <dgm:spPr/>
    </dgm:pt>
    <dgm:pt modelId="{4F0A5BF2-61DA-4102-8B24-7C786B5E23D4}" type="pres">
      <dgm:prSet presAssocID="{7022B312-1F96-4A34-B294-8BC7789958E6}" presName="Name10" presStyleLbl="parChTrans1D2" presStyleIdx="1" presStyleCnt="4"/>
      <dgm:spPr/>
      <dgm:t>
        <a:bodyPr/>
        <a:lstStyle/>
        <a:p>
          <a:endParaRPr lang="en-US"/>
        </a:p>
      </dgm:t>
    </dgm:pt>
    <dgm:pt modelId="{5B382897-58B2-4C91-9F96-944E3E22AB28}" type="pres">
      <dgm:prSet presAssocID="{FCA21171-DFF4-44F7-B785-6E27492F69CD}" presName="hierRoot2" presStyleCnt="0"/>
      <dgm:spPr/>
    </dgm:pt>
    <dgm:pt modelId="{C08D05D6-C602-4C7D-B11F-715A78297E43}" type="pres">
      <dgm:prSet presAssocID="{FCA21171-DFF4-44F7-B785-6E27492F69CD}" presName="composite2" presStyleCnt="0"/>
      <dgm:spPr/>
    </dgm:pt>
    <dgm:pt modelId="{4D69290B-C585-4E66-966C-2B91DE4DE01C}" type="pres">
      <dgm:prSet presAssocID="{FCA21171-DFF4-44F7-B785-6E27492F69CD}" presName="background2" presStyleLbl="node2" presStyleIdx="1" presStyleCnt="4"/>
      <dgm:spPr/>
    </dgm:pt>
    <dgm:pt modelId="{CC106E57-93D3-41F5-A041-8D2FC8C19AFA}" type="pres">
      <dgm:prSet presAssocID="{FCA21171-DFF4-44F7-B785-6E27492F69CD}" presName="text2" presStyleLbl="fgAcc2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BFAD1DF-3DAC-4394-8A67-6EF955269999}" type="pres">
      <dgm:prSet presAssocID="{FCA21171-DFF4-44F7-B785-6E27492F69CD}" presName="hierChild3" presStyleCnt="0"/>
      <dgm:spPr/>
    </dgm:pt>
    <dgm:pt modelId="{EA203DC9-1B47-4B50-BCD3-0744255F9CBE}" type="pres">
      <dgm:prSet presAssocID="{8AA96D15-380F-4427-9014-ED2F06A697F3}" presName="Name17" presStyleLbl="parChTrans1D3" presStyleIdx="1" presStyleCnt="4"/>
      <dgm:spPr/>
      <dgm:t>
        <a:bodyPr/>
        <a:lstStyle/>
        <a:p>
          <a:endParaRPr lang="en-US"/>
        </a:p>
      </dgm:t>
    </dgm:pt>
    <dgm:pt modelId="{E366E5A0-DA90-417A-8A95-09CE389A33D2}" type="pres">
      <dgm:prSet presAssocID="{B2F45611-0C89-4C00-8EF6-6C974D578900}" presName="hierRoot3" presStyleCnt="0"/>
      <dgm:spPr/>
    </dgm:pt>
    <dgm:pt modelId="{AEA88E94-B0B9-46F5-96A0-4C1E734800A1}" type="pres">
      <dgm:prSet presAssocID="{B2F45611-0C89-4C00-8EF6-6C974D578900}" presName="composite3" presStyleCnt="0"/>
      <dgm:spPr/>
    </dgm:pt>
    <dgm:pt modelId="{101EDF04-F0BC-468F-8A0D-808D5E954A89}" type="pres">
      <dgm:prSet presAssocID="{B2F45611-0C89-4C00-8EF6-6C974D578900}" presName="background3" presStyleLbl="node3" presStyleIdx="1" presStyleCnt="4"/>
      <dgm:spPr/>
    </dgm:pt>
    <dgm:pt modelId="{BA1DBD2A-F9A7-41C2-98ED-604CFE86F789}" type="pres">
      <dgm:prSet presAssocID="{B2F45611-0C89-4C00-8EF6-6C974D578900}" presName="text3" presStyleLbl="fgAcc3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49AD35E-7974-40DE-BB84-8DE77719518C}" type="pres">
      <dgm:prSet presAssocID="{B2F45611-0C89-4C00-8EF6-6C974D578900}" presName="hierChild4" presStyleCnt="0"/>
      <dgm:spPr/>
    </dgm:pt>
    <dgm:pt modelId="{EBEF048B-D263-4E13-ADDA-3C495BC93465}" type="pres">
      <dgm:prSet presAssocID="{490EB11F-F59A-4E66-8B17-D5A5426D969C}" presName="Name23" presStyleLbl="parChTrans1D4" presStyleIdx="1" presStyleCnt="4"/>
      <dgm:spPr/>
      <dgm:t>
        <a:bodyPr/>
        <a:lstStyle/>
        <a:p>
          <a:endParaRPr lang="en-US"/>
        </a:p>
      </dgm:t>
    </dgm:pt>
    <dgm:pt modelId="{C366C1C1-C859-4CAC-89C1-79F2E2749811}" type="pres">
      <dgm:prSet presAssocID="{CCE4E7A0-2F67-4D81-AC50-ABF04CCBF9CF}" presName="hierRoot4" presStyleCnt="0"/>
      <dgm:spPr/>
    </dgm:pt>
    <dgm:pt modelId="{469708F8-CC6C-40D5-8090-9C65017AF0BE}" type="pres">
      <dgm:prSet presAssocID="{CCE4E7A0-2F67-4D81-AC50-ABF04CCBF9CF}" presName="composite4" presStyleCnt="0"/>
      <dgm:spPr/>
    </dgm:pt>
    <dgm:pt modelId="{63CD3831-6177-4D49-B27F-397A9ECB7F4B}" type="pres">
      <dgm:prSet presAssocID="{CCE4E7A0-2F67-4D81-AC50-ABF04CCBF9CF}" presName="background4" presStyleLbl="node4" presStyleIdx="1" presStyleCnt="4"/>
      <dgm:spPr/>
    </dgm:pt>
    <dgm:pt modelId="{9EDEA3A3-614A-401D-BCCF-681DBD5734D4}" type="pres">
      <dgm:prSet presAssocID="{CCE4E7A0-2F67-4D81-AC50-ABF04CCBF9CF}" presName="text4" presStyleLbl="fgAcc4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9BB6497-9D00-42E9-88B9-5EF8FA4ABE23}" type="pres">
      <dgm:prSet presAssocID="{CCE4E7A0-2F67-4D81-AC50-ABF04CCBF9CF}" presName="hierChild5" presStyleCnt="0"/>
      <dgm:spPr/>
    </dgm:pt>
    <dgm:pt modelId="{46F72487-AA79-43FB-80EE-B4D6FB158D60}" type="pres">
      <dgm:prSet presAssocID="{7FD13617-2919-435C-A463-B4D5836873BC}" presName="Name10" presStyleLbl="parChTrans1D2" presStyleIdx="2" presStyleCnt="4"/>
      <dgm:spPr/>
      <dgm:t>
        <a:bodyPr/>
        <a:lstStyle/>
        <a:p>
          <a:endParaRPr lang="en-US"/>
        </a:p>
      </dgm:t>
    </dgm:pt>
    <dgm:pt modelId="{FAC804D7-BC91-4E0A-A4E9-4BEC7E4799FA}" type="pres">
      <dgm:prSet presAssocID="{2AE89A91-9A87-4C0A-A600-8E757B987889}" presName="hierRoot2" presStyleCnt="0"/>
      <dgm:spPr/>
    </dgm:pt>
    <dgm:pt modelId="{5327469F-97D8-42BF-8225-F6769A996A07}" type="pres">
      <dgm:prSet presAssocID="{2AE89A91-9A87-4C0A-A600-8E757B987889}" presName="composite2" presStyleCnt="0"/>
      <dgm:spPr/>
    </dgm:pt>
    <dgm:pt modelId="{F6D17860-0030-4343-A193-E80512B50989}" type="pres">
      <dgm:prSet presAssocID="{2AE89A91-9A87-4C0A-A600-8E757B987889}" presName="background2" presStyleLbl="node2" presStyleIdx="2" presStyleCnt="4"/>
      <dgm:spPr/>
    </dgm:pt>
    <dgm:pt modelId="{0A8CD2ED-2A85-4673-AA23-EF71CC185821}" type="pres">
      <dgm:prSet presAssocID="{2AE89A91-9A87-4C0A-A600-8E757B987889}" presName="text2" presStyleLbl="fgAcc2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8DE7F9C-3A21-4EE5-BD01-155065110562}" type="pres">
      <dgm:prSet presAssocID="{2AE89A91-9A87-4C0A-A600-8E757B987889}" presName="hierChild3" presStyleCnt="0"/>
      <dgm:spPr/>
    </dgm:pt>
    <dgm:pt modelId="{0A03F300-A780-4341-A37C-9D8EA77954E9}" type="pres">
      <dgm:prSet presAssocID="{8A976607-4919-44A7-989B-C7297FBCBE53}" presName="Name17" presStyleLbl="parChTrans1D3" presStyleIdx="2" presStyleCnt="4"/>
      <dgm:spPr/>
      <dgm:t>
        <a:bodyPr/>
        <a:lstStyle/>
        <a:p>
          <a:endParaRPr lang="en-US"/>
        </a:p>
      </dgm:t>
    </dgm:pt>
    <dgm:pt modelId="{4E62D4D2-64C3-4746-B9AA-471E680FB30E}" type="pres">
      <dgm:prSet presAssocID="{385B4080-83C5-4BED-B559-AED02F3E521E}" presName="hierRoot3" presStyleCnt="0"/>
      <dgm:spPr/>
    </dgm:pt>
    <dgm:pt modelId="{6EFD3E18-5D9D-4E17-8AAC-E10D44D26297}" type="pres">
      <dgm:prSet presAssocID="{385B4080-83C5-4BED-B559-AED02F3E521E}" presName="composite3" presStyleCnt="0"/>
      <dgm:spPr/>
    </dgm:pt>
    <dgm:pt modelId="{B71311F0-7AFD-4DD3-8796-C9C40A77986A}" type="pres">
      <dgm:prSet presAssocID="{385B4080-83C5-4BED-B559-AED02F3E521E}" presName="background3" presStyleLbl="node3" presStyleIdx="2" presStyleCnt="4"/>
      <dgm:spPr/>
    </dgm:pt>
    <dgm:pt modelId="{7C2A5FCE-9184-4D26-9511-D39EE15F8AD7}" type="pres">
      <dgm:prSet presAssocID="{385B4080-83C5-4BED-B559-AED02F3E521E}" presName="text3" presStyleLbl="fgAcc3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2E47175-EC2B-4E04-AAE2-9730D58FE4C5}" type="pres">
      <dgm:prSet presAssocID="{385B4080-83C5-4BED-B559-AED02F3E521E}" presName="hierChild4" presStyleCnt="0"/>
      <dgm:spPr/>
    </dgm:pt>
    <dgm:pt modelId="{5F4026E4-6807-43FE-9216-EA93E62F091F}" type="pres">
      <dgm:prSet presAssocID="{D10C837E-5999-4059-B0EA-4D0950A7520E}" presName="Name23" presStyleLbl="parChTrans1D4" presStyleIdx="2" presStyleCnt="4"/>
      <dgm:spPr/>
      <dgm:t>
        <a:bodyPr/>
        <a:lstStyle/>
        <a:p>
          <a:endParaRPr lang="en-US"/>
        </a:p>
      </dgm:t>
    </dgm:pt>
    <dgm:pt modelId="{63C69214-C7CD-4F53-A527-7A19DFAED4B1}" type="pres">
      <dgm:prSet presAssocID="{7F55ABF1-23D2-446D-8CAD-41CC93420C23}" presName="hierRoot4" presStyleCnt="0"/>
      <dgm:spPr/>
    </dgm:pt>
    <dgm:pt modelId="{0A8949D2-4178-4BF8-ABDF-8946280A7C20}" type="pres">
      <dgm:prSet presAssocID="{7F55ABF1-23D2-446D-8CAD-41CC93420C23}" presName="composite4" presStyleCnt="0"/>
      <dgm:spPr/>
    </dgm:pt>
    <dgm:pt modelId="{BADD4E43-A3FD-4259-9A92-CEEF81115172}" type="pres">
      <dgm:prSet presAssocID="{7F55ABF1-23D2-446D-8CAD-41CC93420C23}" presName="background4" presStyleLbl="node4" presStyleIdx="2" presStyleCnt="4"/>
      <dgm:spPr/>
    </dgm:pt>
    <dgm:pt modelId="{08D5A9BB-F06F-4DA9-97B3-6E28CB3C779A}" type="pres">
      <dgm:prSet presAssocID="{7F55ABF1-23D2-446D-8CAD-41CC93420C23}" presName="text4" presStyleLbl="fgAcc4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913A488-1B88-44D9-93DC-5C496ED8BBF6}" type="pres">
      <dgm:prSet presAssocID="{7F55ABF1-23D2-446D-8CAD-41CC93420C23}" presName="hierChild5" presStyleCnt="0"/>
      <dgm:spPr/>
    </dgm:pt>
    <dgm:pt modelId="{B5D48BDC-DC12-4CF6-AA31-4B778C6AC6D6}" type="pres">
      <dgm:prSet presAssocID="{F54CE72F-3699-4CC3-A601-6A6D69AE8102}" presName="Name10" presStyleLbl="parChTrans1D2" presStyleIdx="3" presStyleCnt="4"/>
      <dgm:spPr/>
      <dgm:t>
        <a:bodyPr/>
        <a:lstStyle/>
        <a:p>
          <a:endParaRPr lang="en-US"/>
        </a:p>
      </dgm:t>
    </dgm:pt>
    <dgm:pt modelId="{D62C0FF7-14A4-444A-8FBB-3C1777F55AA2}" type="pres">
      <dgm:prSet presAssocID="{1972A189-1CBB-4A5E-BC22-D6F75FFC160E}" presName="hierRoot2" presStyleCnt="0"/>
      <dgm:spPr/>
    </dgm:pt>
    <dgm:pt modelId="{71718CD9-3228-4748-9364-8EECA3D41651}" type="pres">
      <dgm:prSet presAssocID="{1972A189-1CBB-4A5E-BC22-D6F75FFC160E}" presName="composite2" presStyleCnt="0"/>
      <dgm:spPr/>
    </dgm:pt>
    <dgm:pt modelId="{E61B99E2-CC8B-4A70-AF36-0D096B8C845D}" type="pres">
      <dgm:prSet presAssocID="{1972A189-1CBB-4A5E-BC22-D6F75FFC160E}" presName="background2" presStyleLbl="node2" presStyleIdx="3" presStyleCnt="4"/>
      <dgm:spPr/>
    </dgm:pt>
    <dgm:pt modelId="{CE18DACD-84F8-4D81-B32D-904556A63E59}" type="pres">
      <dgm:prSet presAssocID="{1972A189-1CBB-4A5E-BC22-D6F75FFC160E}" presName="text2" presStyleLbl="fgAcc2" presStyleIdx="3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DCBF441-8AA5-4307-84B2-988AFBD1EA6C}" type="pres">
      <dgm:prSet presAssocID="{1972A189-1CBB-4A5E-BC22-D6F75FFC160E}" presName="hierChild3" presStyleCnt="0"/>
      <dgm:spPr/>
    </dgm:pt>
    <dgm:pt modelId="{6145F5B2-F066-4A5A-AFF9-1533C960A810}" type="pres">
      <dgm:prSet presAssocID="{85FDB56C-153C-4FC2-BC3E-FD651D30E5D8}" presName="Name17" presStyleLbl="parChTrans1D3" presStyleIdx="3" presStyleCnt="4"/>
      <dgm:spPr/>
      <dgm:t>
        <a:bodyPr/>
        <a:lstStyle/>
        <a:p>
          <a:endParaRPr lang="en-US"/>
        </a:p>
      </dgm:t>
    </dgm:pt>
    <dgm:pt modelId="{5921EFAA-8C48-45B3-AB71-430FEEE00FA4}" type="pres">
      <dgm:prSet presAssocID="{2E0D154A-CE6A-4E1C-91F1-864A5447ADF1}" presName="hierRoot3" presStyleCnt="0"/>
      <dgm:spPr/>
    </dgm:pt>
    <dgm:pt modelId="{DDFF9DC2-F906-4DA4-993C-5A9E8F63F509}" type="pres">
      <dgm:prSet presAssocID="{2E0D154A-CE6A-4E1C-91F1-864A5447ADF1}" presName="composite3" presStyleCnt="0"/>
      <dgm:spPr/>
    </dgm:pt>
    <dgm:pt modelId="{FF8C6B3B-65E3-4816-84FF-B21887BE3A5E}" type="pres">
      <dgm:prSet presAssocID="{2E0D154A-CE6A-4E1C-91F1-864A5447ADF1}" presName="background3" presStyleLbl="node3" presStyleIdx="3" presStyleCnt="4"/>
      <dgm:spPr/>
    </dgm:pt>
    <dgm:pt modelId="{F8F5C562-D9F3-4CDF-9112-6A773CF36B07}" type="pres">
      <dgm:prSet presAssocID="{2E0D154A-CE6A-4E1C-91F1-864A5447ADF1}" presName="text3" presStyleLbl="fgAcc3" presStyleIdx="3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ACD5AB8-12F8-4223-94F3-CA5807F546BA}" type="pres">
      <dgm:prSet presAssocID="{2E0D154A-CE6A-4E1C-91F1-864A5447ADF1}" presName="hierChild4" presStyleCnt="0"/>
      <dgm:spPr/>
    </dgm:pt>
    <dgm:pt modelId="{32FFD4C5-AA4D-4A99-B3D1-D61240B00A5C}" type="pres">
      <dgm:prSet presAssocID="{4B6559D8-AAFE-457B-8F67-1801B0D17086}" presName="Name23" presStyleLbl="parChTrans1D4" presStyleIdx="3" presStyleCnt="4"/>
      <dgm:spPr/>
      <dgm:t>
        <a:bodyPr/>
        <a:lstStyle/>
        <a:p>
          <a:endParaRPr lang="en-US"/>
        </a:p>
      </dgm:t>
    </dgm:pt>
    <dgm:pt modelId="{57481D4F-848C-43D7-80C4-4510DDFE30DB}" type="pres">
      <dgm:prSet presAssocID="{A8944C56-2FD9-4480-B2C5-EB3D4C01B6D3}" presName="hierRoot4" presStyleCnt="0"/>
      <dgm:spPr/>
    </dgm:pt>
    <dgm:pt modelId="{7892F012-ECED-4125-8C5A-AF9B71DA5535}" type="pres">
      <dgm:prSet presAssocID="{A8944C56-2FD9-4480-B2C5-EB3D4C01B6D3}" presName="composite4" presStyleCnt="0"/>
      <dgm:spPr/>
    </dgm:pt>
    <dgm:pt modelId="{3109BFFE-7FC7-4952-B03B-CAC05B036C00}" type="pres">
      <dgm:prSet presAssocID="{A8944C56-2FD9-4480-B2C5-EB3D4C01B6D3}" presName="background4" presStyleLbl="node4" presStyleIdx="3" presStyleCnt="4"/>
      <dgm:spPr/>
    </dgm:pt>
    <dgm:pt modelId="{20C66ED1-ECDD-4D39-B0BE-03F09931DA3F}" type="pres">
      <dgm:prSet presAssocID="{A8944C56-2FD9-4480-B2C5-EB3D4C01B6D3}" presName="text4" presStyleLbl="fgAcc4" presStyleIdx="3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67FB38C-ABBB-48A2-A30D-24395841E5EB}" type="pres">
      <dgm:prSet presAssocID="{A8944C56-2FD9-4480-B2C5-EB3D4C01B6D3}" presName="hierChild5" presStyleCnt="0"/>
      <dgm:spPr/>
    </dgm:pt>
  </dgm:ptLst>
  <dgm:cxnLst>
    <dgm:cxn modelId="{4959B8D6-0AEF-4E60-AC2E-38F1A77E0511}" type="presOf" srcId="{DCB64F1B-031C-47DE-BF23-B9AB1668664E}" destId="{A68B1810-2B8B-494E-B0E6-649058124AA9}" srcOrd="0" destOrd="0" presId="urn:microsoft.com/office/officeart/2005/8/layout/hierarchy1"/>
    <dgm:cxn modelId="{74EC7E9A-4C32-4E05-A852-E371F51CB011}" type="presOf" srcId="{69E408FD-6659-447C-85E9-8FD59CDDC3AF}" destId="{938A527D-9C04-48A6-A67E-A177F47E6789}" srcOrd="0" destOrd="0" presId="urn:microsoft.com/office/officeart/2005/8/layout/hierarchy1"/>
    <dgm:cxn modelId="{7E500D72-2F6D-413B-B711-6032A9575680}" type="presOf" srcId="{A8944C56-2FD9-4480-B2C5-EB3D4C01B6D3}" destId="{20C66ED1-ECDD-4D39-B0BE-03F09931DA3F}" srcOrd="0" destOrd="0" presId="urn:microsoft.com/office/officeart/2005/8/layout/hierarchy1"/>
    <dgm:cxn modelId="{7D82DA8D-B71E-46D5-824A-11365114FDC9}" type="presOf" srcId="{CCE4E7A0-2F67-4D81-AC50-ABF04CCBF9CF}" destId="{9EDEA3A3-614A-401D-BCCF-681DBD5734D4}" srcOrd="0" destOrd="0" presId="urn:microsoft.com/office/officeart/2005/8/layout/hierarchy1"/>
    <dgm:cxn modelId="{E3B43E8B-8BAF-4139-B05E-F5CC40552AE7}" type="presOf" srcId="{85FDB56C-153C-4FC2-BC3E-FD651D30E5D8}" destId="{6145F5B2-F066-4A5A-AFF9-1533C960A810}" srcOrd="0" destOrd="0" presId="urn:microsoft.com/office/officeart/2005/8/layout/hierarchy1"/>
    <dgm:cxn modelId="{488C04CF-27A2-4A1A-B315-18B5D5DFA0D6}" srcId="{69E408FD-6659-447C-85E9-8FD59CDDC3AF}" destId="{1972A189-1CBB-4A5E-BC22-D6F75FFC160E}" srcOrd="3" destOrd="0" parTransId="{F54CE72F-3699-4CC3-A601-6A6D69AE8102}" sibTransId="{4FA2BE90-65A5-4F0B-825E-AA85CF11BE8F}"/>
    <dgm:cxn modelId="{2655C0FA-698C-4763-8758-9B69A369F2CE}" srcId="{69E408FD-6659-447C-85E9-8FD59CDDC3AF}" destId="{FCA21171-DFF4-44F7-B785-6E27492F69CD}" srcOrd="1" destOrd="0" parTransId="{7022B312-1F96-4A34-B294-8BC7789958E6}" sibTransId="{D1FD4C8E-DB9B-483B-A2D8-593A56395945}"/>
    <dgm:cxn modelId="{4A3A80DE-2B45-4BD9-B40D-FE062F3FC962}" type="presOf" srcId="{1972A189-1CBB-4A5E-BC22-D6F75FFC160E}" destId="{CE18DACD-84F8-4D81-B32D-904556A63E59}" srcOrd="0" destOrd="0" presId="urn:microsoft.com/office/officeart/2005/8/layout/hierarchy1"/>
    <dgm:cxn modelId="{E92B8AF2-3C52-415A-AC57-2C0157099097}" srcId="{DCB64F1B-031C-47DE-BF23-B9AB1668664E}" destId="{4B8FAC81-08DE-44E8-AC4A-199B013CEF9A}" srcOrd="0" destOrd="0" parTransId="{83DA8C70-AF2B-41F2-83A6-E6CEE6F0BC87}" sibTransId="{A5F52F04-BCBE-4310-865D-0913C8E76D43}"/>
    <dgm:cxn modelId="{73389DCF-EDE6-48B5-8A21-50DE10A66272}" type="presOf" srcId="{385B4080-83C5-4BED-B559-AED02F3E521E}" destId="{7C2A5FCE-9184-4D26-9511-D39EE15F8AD7}" srcOrd="0" destOrd="0" presId="urn:microsoft.com/office/officeart/2005/8/layout/hierarchy1"/>
    <dgm:cxn modelId="{04F7CB24-89A9-4C4E-8B84-7D48D483116A}" srcId="{4B8FAC81-08DE-44E8-AC4A-199B013CEF9A}" destId="{50C6C8C4-4143-4E9D-B12B-85D318FA8FEB}" srcOrd="0" destOrd="0" parTransId="{DA0F444E-BD3A-46B1-ADAE-36DFC9E5AFE9}" sibTransId="{31EED597-540C-4BB6-BC68-D7BC30F6C3D2}"/>
    <dgm:cxn modelId="{1F16A774-718D-4F34-A0FB-E98C968FCD8A}" type="presOf" srcId="{4B8FAC81-08DE-44E8-AC4A-199B013CEF9A}" destId="{DB0E40EF-7560-4B26-A081-77BD01EECFB7}" srcOrd="0" destOrd="0" presId="urn:microsoft.com/office/officeart/2005/8/layout/hierarchy1"/>
    <dgm:cxn modelId="{19555CD9-ABAF-4ECC-9948-CBB818FD77B7}" type="presOf" srcId="{4B6559D8-AAFE-457B-8F67-1801B0D17086}" destId="{32FFD4C5-AA4D-4A99-B3D1-D61240B00A5C}" srcOrd="0" destOrd="0" presId="urn:microsoft.com/office/officeart/2005/8/layout/hierarchy1"/>
    <dgm:cxn modelId="{D70C1AA2-6D3B-4ADE-9159-060679A6F566}" type="presOf" srcId="{8AA96D15-380F-4427-9014-ED2F06A697F3}" destId="{EA203DC9-1B47-4B50-BCD3-0744255F9CBE}" srcOrd="0" destOrd="0" presId="urn:microsoft.com/office/officeart/2005/8/layout/hierarchy1"/>
    <dgm:cxn modelId="{B4028549-8698-4E91-B5CD-41D4BA0ED2F6}" srcId="{B2F45611-0C89-4C00-8EF6-6C974D578900}" destId="{CCE4E7A0-2F67-4D81-AC50-ABF04CCBF9CF}" srcOrd="0" destOrd="0" parTransId="{490EB11F-F59A-4E66-8B17-D5A5426D969C}" sibTransId="{4C2FA2C9-0C69-4E02-95DB-27B4652A16B9}"/>
    <dgm:cxn modelId="{BF90164D-26BB-41EF-AD1F-B083486929FB}" type="presOf" srcId="{FCA21171-DFF4-44F7-B785-6E27492F69CD}" destId="{CC106E57-93D3-41F5-A041-8D2FC8C19AFA}" srcOrd="0" destOrd="0" presId="urn:microsoft.com/office/officeart/2005/8/layout/hierarchy1"/>
    <dgm:cxn modelId="{FEAAA0F2-F90C-41EE-86D3-BC15EB6293BE}" type="presOf" srcId="{8A976607-4919-44A7-989B-C7297FBCBE53}" destId="{0A03F300-A780-4341-A37C-9D8EA77954E9}" srcOrd="0" destOrd="0" presId="urn:microsoft.com/office/officeart/2005/8/layout/hierarchy1"/>
    <dgm:cxn modelId="{B7648763-D917-4027-8945-EF947A437E12}" type="presOf" srcId="{B2F45611-0C89-4C00-8EF6-6C974D578900}" destId="{BA1DBD2A-F9A7-41C2-98ED-604CFE86F789}" srcOrd="0" destOrd="0" presId="urn:microsoft.com/office/officeart/2005/8/layout/hierarchy1"/>
    <dgm:cxn modelId="{57FD838B-8E86-4C7B-970A-415D2AD6A315}" type="presOf" srcId="{DA0F444E-BD3A-46B1-ADAE-36DFC9E5AFE9}" destId="{953A8167-0924-4B4A-A0D4-0BA9E2DC28C6}" srcOrd="0" destOrd="0" presId="urn:microsoft.com/office/officeart/2005/8/layout/hierarchy1"/>
    <dgm:cxn modelId="{F1D32989-CC97-49B1-AC90-84C1D1CF60DB}" type="presOf" srcId="{7FD13617-2919-435C-A463-B4D5836873BC}" destId="{46F72487-AA79-43FB-80EE-B4D6FB158D60}" srcOrd="0" destOrd="0" presId="urn:microsoft.com/office/officeart/2005/8/layout/hierarchy1"/>
    <dgm:cxn modelId="{3453EA31-90A7-4F85-8528-0D5CCE14B4C6}" type="presOf" srcId="{9ED15D5E-6EC5-46AF-AC2A-8EF291DB2F56}" destId="{077ACD26-13C9-46BC-87AB-632AF09FCA0B}" srcOrd="0" destOrd="0" presId="urn:microsoft.com/office/officeart/2005/8/layout/hierarchy1"/>
    <dgm:cxn modelId="{F86B9FEF-E148-435D-9283-87DB028A0342}" srcId="{2E0D154A-CE6A-4E1C-91F1-864A5447ADF1}" destId="{A8944C56-2FD9-4480-B2C5-EB3D4C01B6D3}" srcOrd="0" destOrd="0" parTransId="{4B6559D8-AAFE-457B-8F67-1801B0D17086}" sibTransId="{E2E01494-85D2-474A-813A-E1D39F6AA230}"/>
    <dgm:cxn modelId="{70CD98D1-51AC-45B8-A7D7-25455657E502}" srcId="{FCA21171-DFF4-44F7-B785-6E27492F69CD}" destId="{B2F45611-0C89-4C00-8EF6-6C974D578900}" srcOrd="0" destOrd="0" parTransId="{8AA96D15-380F-4427-9014-ED2F06A697F3}" sibTransId="{B223DD4B-49B9-4B82-B309-37194013A1AE}"/>
    <dgm:cxn modelId="{C9E43D5D-057E-4F0F-8D06-3DA8ABDD3B05}" srcId="{2AE89A91-9A87-4C0A-A600-8E757B987889}" destId="{385B4080-83C5-4BED-B559-AED02F3E521E}" srcOrd="0" destOrd="0" parTransId="{8A976607-4919-44A7-989B-C7297FBCBE53}" sibTransId="{E0736B56-21BB-455C-A45F-53D61D67965C}"/>
    <dgm:cxn modelId="{4D891A5C-2E2B-4023-8DF4-FD14D3AD7B58}" type="presOf" srcId="{490EB11F-F59A-4E66-8B17-D5A5426D969C}" destId="{EBEF048B-D263-4E13-ADDA-3C495BC93465}" srcOrd="0" destOrd="0" presId="urn:microsoft.com/office/officeart/2005/8/layout/hierarchy1"/>
    <dgm:cxn modelId="{2AE28F74-C790-4D85-9768-9A686658CD6A}" type="presOf" srcId="{7F55ABF1-23D2-446D-8CAD-41CC93420C23}" destId="{08D5A9BB-F06F-4DA9-97B3-6E28CB3C779A}" srcOrd="0" destOrd="0" presId="urn:microsoft.com/office/officeart/2005/8/layout/hierarchy1"/>
    <dgm:cxn modelId="{ADCFC94D-10E7-4DD6-B765-83DFA8F9BCFC}" type="presOf" srcId="{2E0D154A-CE6A-4E1C-91F1-864A5447ADF1}" destId="{F8F5C562-D9F3-4CDF-9112-6A773CF36B07}" srcOrd="0" destOrd="0" presId="urn:microsoft.com/office/officeart/2005/8/layout/hierarchy1"/>
    <dgm:cxn modelId="{59BC5E00-CD9B-4F58-9F30-EF21977B0440}" type="presOf" srcId="{83DA8C70-AF2B-41F2-83A6-E6CEE6F0BC87}" destId="{4EC94A6B-487F-4923-BDA7-5EE5F766BD04}" srcOrd="0" destOrd="0" presId="urn:microsoft.com/office/officeart/2005/8/layout/hierarchy1"/>
    <dgm:cxn modelId="{3F1840B9-7CEB-4CE5-8301-04872BA8C474}" type="presOf" srcId="{6F18293F-D97E-44F2-9887-A270000D6325}" destId="{CEC801DE-C529-4FF6-A97C-7C080F5757CB}" srcOrd="0" destOrd="0" presId="urn:microsoft.com/office/officeart/2005/8/layout/hierarchy1"/>
    <dgm:cxn modelId="{F4477472-F337-46EC-9181-5E7FA9FA448A}" type="presOf" srcId="{D10C837E-5999-4059-B0EA-4D0950A7520E}" destId="{5F4026E4-6807-43FE-9216-EA93E62F091F}" srcOrd="0" destOrd="0" presId="urn:microsoft.com/office/officeart/2005/8/layout/hierarchy1"/>
    <dgm:cxn modelId="{039EF47C-38BB-433A-84D4-1DCAA9CB1B39}" srcId="{69E408FD-6659-447C-85E9-8FD59CDDC3AF}" destId="{DCB64F1B-031C-47DE-BF23-B9AB1668664E}" srcOrd="0" destOrd="0" parTransId="{9ED15D5E-6EC5-46AF-AC2A-8EF291DB2F56}" sibTransId="{35A65DAF-5A5E-4B24-9099-23C38A883FC7}"/>
    <dgm:cxn modelId="{C80337CC-EED9-4064-BCA2-58CA7BADF299}" srcId="{69E408FD-6659-447C-85E9-8FD59CDDC3AF}" destId="{2AE89A91-9A87-4C0A-A600-8E757B987889}" srcOrd="2" destOrd="0" parTransId="{7FD13617-2919-435C-A463-B4D5836873BC}" sibTransId="{7E7E1586-2182-4D8B-A154-E0674F9F7B73}"/>
    <dgm:cxn modelId="{B8005B5F-284F-4FD1-9665-99A9A86EECD3}" type="presOf" srcId="{7022B312-1F96-4A34-B294-8BC7789958E6}" destId="{4F0A5BF2-61DA-4102-8B24-7C786B5E23D4}" srcOrd="0" destOrd="0" presId="urn:microsoft.com/office/officeart/2005/8/layout/hierarchy1"/>
    <dgm:cxn modelId="{2DA94CB0-1C23-4692-BD5F-EE32A48CB624}" srcId="{385B4080-83C5-4BED-B559-AED02F3E521E}" destId="{7F55ABF1-23D2-446D-8CAD-41CC93420C23}" srcOrd="0" destOrd="0" parTransId="{D10C837E-5999-4059-B0EA-4D0950A7520E}" sibTransId="{72284C92-E215-4E36-8F82-54D3EAF128D3}"/>
    <dgm:cxn modelId="{569B001B-4C24-4D80-8F65-B74B7C219946}" srcId="{6F18293F-D97E-44F2-9887-A270000D6325}" destId="{69E408FD-6659-447C-85E9-8FD59CDDC3AF}" srcOrd="0" destOrd="0" parTransId="{758D6171-1AE9-4AD1-8728-5B63896176EA}" sibTransId="{78835C3D-2EA9-4B9E-9C9D-4B4DACCDDD68}"/>
    <dgm:cxn modelId="{059F6D9F-8164-4B7D-9421-9AA3C8B92F45}" type="presOf" srcId="{50C6C8C4-4143-4E9D-B12B-85D318FA8FEB}" destId="{1C2520C7-42B9-45DE-A8DA-EF2D3EF7750A}" srcOrd="0" destOrd="0" presId="urn:microsoft.com/office/officeart/2005/8/layout/hierarchy1"/>
    <dgm:cxn modelId="{87BDD004-B7D0-42D6-8E61-D67887F648A6}" type="presOf" srcId="{2AE89A91-9A87-4C0A-A600-8E757B987889}" destId="{0A8CD2ED-2A85-4673-AA23-EF71CC185821}" srcOrd="0" destOrd="0" presId="urn:microsoft.com/office/officeart/2005/8/layout/hierarchy1"/>
    <dgm:cxn modelId="{CB0C4CF9-938F-4162-A428-35986D11D33C}" type="presOf" srcId="{F54CE72F-3699-4CC3-A601-6A6D69AE8102}" destId="{B5D48BDC-DC12-4CF6-AA31-4B778C6AC6D6}" srcOrd="0" destOrd="0" presId="urn:microsoft.com/office/officeart/2005/8/layout/hierarchy1"/>
    <dgm:cxn modelId="{670A29A5-428D-4EB3-A4B0-81250E632051}" srcId="{1972A189-1CBB-4A5E-BC22-D6F75FFC160E}" destId="{2E0D154A-CE6A-4E1C-91F1-864A5447ADF1}" srcOrd="0" destOrd="0" parTransId="{85FDB56C-153C-4FC2-BC3E-FD651D30E5D8}" sibTransId="{283B2D8D-40EF-40A7-AAA1-05C398505615}"/>
    <dgm:cxn modelId="{E19596DF-2ABB-498F-BBB8-039B0222DB65}" type="presParOf" srcId="{CEC801DE-C529-4FF6-A97C-7C080F5757CB}" destId="{A8EAC7CC-7BF9-45D7-8DC2-7CE42F0853F7}" srcOrd="0" destOrd="0" presId="urn:microsoft.com/office/officeart/2005/8/layout/hierarchy1"/>
    <dgm:cxn modelId="{2C2343FE-3D8F-46B7-A415-511CDA694CC7}" type="presParOf" srcId="{A8EAC7CC-7BF9-45D7-8DC2-7CE42F0853F7}" destId="{99B035AC-A5D5-4F6B-9605-7E8658CA1E57}" srcOrd="0" destOrd="0" presId="urn:microsoft.com/office/officeart/2005/8/layout/hierarchy1"/>
    <dgm:cxn modelId="{A939A9DF-8E58-4726-AF9D-64A853755800}" type="presParOf" srcId="{99B035AC-A5D5-4F6B-9605-7E8658CA1E57}" destId="{CA90D551-E1CB-484D-AF55-0A16ACB27396}" srcOrd="0" destOrd="0" presId="urn:microsoft.com/office/officeart/2005/8/layout/hierarchy1"/>
    <dgm:cxn modelId="{A753B252-2693-420F-8C02-B8933595BF97}" type="presParOf" srcId="{99B035AC-A5D5-4F6B-9605-7E8658CA1E57}" destId="{938A527D-9C04-48A6-A67E-A177F47E6789}" srcOrd="1" destOrd="0" presId="urn:microsoft.com/office/officeart/2005/8/layout/hierarchy1"/>
    <dgm:cxn modelId="{0492B12F-DDFF-4CFA-A6B1-2B696EB16659}" type="presParOf" srcId="{A8EAC7CC-7BF9-45D7-8DC2-7CE42F0853F7}" destId="{7F1DF494-2E31-4596-9217-0A460DC5241C}" srcOrd="1" destOrd="0" presId="urn:microsoft.com/office/officeart/2005/8/layout/hierarchy1"/>
    <dgm:cxn modelId="{7B6C98C5-771C-47EF-9973-3BED9F205047}" type="presParOf" srcId="{7F1DF494-2E31-4596-9217-0A460DC5241C}" destId="{077ACD26-13C9-46BC-87AB-632AF09FCA0B}" srcOrd="0" destOrd="0" presId="urn:microsoft.com/office/officeart/2005/8/layout/hierarchy1"/>
    <dgm:cxn modelId="{57C31637-8B5D-49B9-A991-47E698576BEF}" type="presParOf" srcId="{7F1DF494-2E31-4596-9217-0A460DC5241C}" destId="{F5886601-C949-48FE-93AD-0C87F3803F25}" srcOrd="1" destOrd="0" presId="urn:microsoft.com/office/officeart/2005/8/layout/hierarchy1"/>
    <dgm:cxn modelId="{F28423E6-8E34-44BD-BC0C-154B98D63863}" type="presParOf" srcId="{F5886601-C949-48FE-93AD-0C87F3803F25}" destId="{D02524F4-1281-4C28-B898-8C0F59ECB4C5}" srcOrd="0" destOrd="0" presId="urn:microsoft.com/office/officeart/2005/8/layout/hierarchy1"/>
    <dgm:cxn modelId="{E48A1411-4934-471A-9540-D43A044967C3}" type="presParOf" srcId="{D02524F4-1281-4C28-B898-8C0F59ECB4C5}" destId="{C5DA8261-B4A0-4403-9873-3CB4B057BED3}" srcOrd="0" destOrd="0" presId="urn:microsoft.com/office/officeart/2005/8/layout/hierarchy1"/>
    <dgm:cxn modelId="{353098BF-0CAA-4260-87D8-5E0C192CC6FD}" type="presParOf" srcId="{D02524F4-1281-4C28-B898-8C0F59ECB4C5}" destId="{A68B1810-2B8B-494E-B0E6-649058124AA9}" srcOrd="1" destOrd="0" presId="urn:microsoft.com/office/officeart/2005/8/layout/hierarchy1"/>
    <dgm:cxn modelId="{61ABD1E6-6A37-49C1-8398-5F4FB4DC699B}" type="presParOf" srcId="{F5886601-C949-48FE-93AD-0C87F3803F25}" destId="{A1BFF12B-6DAC-4854-B207-B3154632619E}" srcOrd="1" destOrd="0" presId="urn:microsoft.com/office/officeart/2005/8/layout/hierarchy1"/>
    <dgm:cxn modelId="{E6497948-3DD9-48F6-8988-B4B846D273C1}" type="presParOf" srcId="{A1BFF12B-6DAC-4854-B207-B3154632619E}" destId="{4EC94A6B-487F-4923-BDA7-5EE5F766BD04}" srcOrd="0" destOrd="0" presId="urn:microsoft.com/office/officeart/2005/8/layout/hierarchy1"/>
    <dgm:cxn modelId="{CCB2B472-CCDB-4F30-BB7B-3FB1195CFA22}" type="presParOf" srcId="{A1BFF12B-6DAC-4854-B207-B3154632619E}" destId="{D22BEAC5-71A4-4FA8-A050-F4C6E9DF2FEF}" srcOrd="1" destOrd="0" presId="urn:microsoft.com/office/officeart/2005/8/layout/hierarchy1"/>
    <dgm:cxn modelId="{49D860C1-FBA0-4D75-B39A-E596AE82C3D7}" type="presParOf" srcId="{D22BEAC5-71A4-4FA8-A050-F4C6E9DF2FEF}" destId="{B1673099-D0ED-4207-8D25-420150E86E5A}" srcOrd="0" destOrd="0" presId="urn:microsoft.com/office/officeart/2005/8/layout/hierarchy1"/>
    <dgm:cxn modelId="{367CF207-5684-48DC-9CC7-7C02C64749F0}" type="presParOf" srcId="{B1673099-D0ED-4207-8D25-420150E86E5A}" destId="{57CB5379-038D-4B92-A267-A14E72BF120E}" srcOrd="0" destOrd="0" presId="urn:microsoft.com/office/officeart/2005/8/layout/hierarchy1"/>
    <dgm:cxn modelId="{B11CA4DC-7057-4DB9-AE39-DC2A953C8164}" type="presParOf" srcId="{B1673099-D0ED-4207-8D25-420150E86E5A}" destId="{DB0E40EF-7560-4B26-A081-77BD01EECFB7}" srcOrd="1" destOrd="0" presId="urn:microsoft.com/office/officeart/2005/8/layout/hierarchy1"/>
    <dgm:cxn modelId="{578A699D-45BD-4FC3-A6B7-12627F75433D}" type="presParOf" srcId="{D22BEAC5-71A4-4FA8-A050-F4C6E9DF2FEF}" destId="{C228300A-8C69-475C-A331-1F538411CCD5}" srcOrd="1" destOrd="0" presId="urn:microsoft.com/office/officeart/2005/8/layout/hierarchy1"/>
    <dgm:cxn modelId="{E3F80B49-B88D-4644-897C-A3F31F8D2B0E}" type="presParOf" srcId="{C228300A-8C69-475C-A331-1F538411CCD5}" destId="{953A8167-0924-4B4A-A0D4-0BA9E2DC28C6}" srcOrd="0" destOrd="0" presId="urn:microsoft.com/office/officeart/2005/8/layout/hierarchy1"/>
    <dgm:cxn modelId="{B365C8A7-32F5-4BB5-B192-7FBA4EFB3E24}" type="presParOf" srcId="{C228300A-8C69-475C-A331-1F538411CCD5}" destId="{77D9E894-0F7F-461A-B44A-9E00DAFC0479}" srcOrd="1" destOrd="0" presId="urn:microsoft.com/office/officeart/2005/8/layout/hierarchy1"/>
    <dgm:cxn modelId="{C7462B72-8299-4417-8D63-5F21372CDAFE}" type="presParOf" srcId="{77D9E894-0F7F-461A-B44A-9E00DAFC0479}" destId="{971E6DD8-A291-4585-B13B-49CF1A5E43D3}" srcOrd="0" destOrd="0" presId="urn:microsoft.com/office/officeart/2005/8/layout/hierarchy1"/>
    <dgm:cxn modelId="{EFB3AE20-0C05-453A-B3F7-F738E578F66E}" type="presParOf" srcId="{971E6DD8-A291-4585-B13B-49CF1A5E43D3}" destId="{41B26BAB-2E4B-4DB4-AEB6-D1125D69BD95}" srcOrd="0" destOrd="0" presId="urn:microsoft.com/office/officeart/2005/8/layout/hierarchy1"/>
    <dgm:cxn modelId="{935D4467-0E3B-4102-8061-07CBB5F4DF40}" type="presParOf" srcId="{971E6DD8-A291-4585-B13B-49CF1A5E43D3}" destId="{1C2520C7-42B9-45DE-A8DA-EF2D3EF7750A}" srcOrd="1" destOrd="0" presId="urn:microsoft.com/office/officeart/2005/8/layout/hierarchy1"/>
    <dgm:cxn modelId="{601AEC6D-ABE3-44A2-A035-AB28F2947066}" type="presParOf" srcId="{77D9E894-0F7F-461A-B44A-9E00DAFC0479}" destId="{EC09F363-19E1-4790-B9AB-8E6E4A5E639C}" srcOrd="1" destOrd="0" presId="urn:microsoft.com/office/officeart/2005/8/layout/hierarchy1"/>
    <dgm:cxn modelId="{B710E194-1355-4939-B6BC-7A7483876428}" type="presParOf" srcId="{7F1DF494-2E31-4596-9217-0A460DC5241C}" destId="{4F0A5BF2-61DA-4102-8B24-7C786B5E23D4}" srcOrd="2" destOrd="0" presId="urn:microsoft.com/office/officeart/2005/8/layout/hierarchy1"/>
    <dgm:cxn modelId="{6BA41095-CF6C-4BBA-9F79-2851D6C1B516}" type="presParOf" srcId="{7F1DF494-2E31-4596-9217-0A460DC5241C}" destId="{5B382897-58B2-4C91-9F96-944E3E22AB28}" srcOrd="3" destOrd="0" presId="urn:microsoft.com/office/officeart/2005/8/layout/hierarchy1"/>
    <dgm:cxn modelId="{ABADF4AF-AF5D-4EF2-8D2C-6BE5FFDD0738}" type="presParOf" srcId="{5B382897-58B2-4C91-9F96-944E3E22AB28}" destId="{C08D05D6-C602-4C7D-B11F-715A78297E43}" srcOrd="0" destOrd="0" presId="urn:microsoft.com/office/officeart/2005/8/layout/hierarchy1"/>
    <dgm:cxn modelId="{82D3D602-CB91-4E3D-A634-B026A04E3798}" type="presParOf" srcId="{C08D05D6-C602-4C7D-B11F-715A78297E43}" destId="{4D69290B-C585-4E66-966C-2B91DE4DE01C}" srcOrd="0" destOrd="0" presId="urn:microsoft.com/office/officeart/2005/8/layout/hierarchy1"/>
    <dgm:cxn modelId="{4C438136-BABF-45FB-9516-04BB95973970}" type="presParOf" srcId="{C08D05D6-C602-4C7D-B11F-715A78297E43}" destId="{CC106E57-93D3-41F5-A041-8D2FC8C19AFA}" srcOrd="1" destOrd="0" presId="urn:microsoft.com/office/officeart/2005/8/layout/hierarchy1"/>
    <dgm:cxn modelId="{3DFB64DE-E56B-4618-8211-BAEF04086ED1}" type="presParOf" srcId="{5B382897-58B2-4C91-9F96-944E3E22AB28}" destId="{7BFAD1DF-3DAC-4394-8A67-6EF955269999}" srcOrd="1" destOrd="0" presId="urn:microsoft.com/office/officeart/2005/8/layout/hierarchy1"/>
    <dgm:cxn modelId="{A054C070-D35F-4F2C-8ECF-C2EA839BEF4D}" type="presParOf" srcId="{7BFAD1DF-3DAC-4394-8A67-6EF955269999}" destId="{EA203DC9-1B47-4B50-BCD3-0744255F9CBE}" srcOrd="0" destOrd="0" presId="urn:microsoft.com/office/officeart/2005/8/layout/hierarchy1"/>
    <dgm:cxn modelId="{3E1C1BFA-7EF0-4EC7-A786-76DFE4B64A2D}" type="presParOf" srcId="{7BFAD1DF-3DAC-4394-8A67-6EF955269999}" destId="{E366E5A0-DA90-417A-8A95-09CE389A33D2}" srcOrd="1" destOrd="0" presId="urn:microsoft.com/office/officeart/2005/8/layout/hierarchy1"/>
    <dgm:cxn modelId="{4BD3DE2A-37C2-4519-9012-48A4A7306145}" type="presParOf" srcId="{E366E5A0-DA90-417A-8A95-09CE389A33D2}" destId="{AEA88E94-B0B9-46F5-96A0-4C1E734800A1}" srcOrd="0" destOrd="0" presId="urn:microsoft.com/office/officeart/2005/8/layout/hierarchy1"/>
    <dgm:cxn modelId="{2FFF9B51-9471-46F8-B9E0-6452379E1C7B}" type="presParOf" srcId="{AEA88E94-B0B9-46F5-96A0-4C1E734800A1}" destId="{101EDF04-F0BC-468F-8A0D-808D5E954A89}" srcOrd="0" destOrd="0" presId="urn:microsoft.com/office/officeart/2005/8/layout/hierarchy1"/>
    <dgm:cxn modelId="{3735CF30-79A3-49D9-9BD9-33C91A8A3554}" type="presParOf" srcId="{AEA88E94-B0B9-46F5-96A0-4C1E734800A1}" destId="{BA1DBD2A-F9A7-41C2-98ED-604CFE86F789}" srcOrd="1" destOrd="0" presId="urn:microsoft.com/office/officeart/2005/8/layout/hierarchy1"/>
    <dgm:cxn modelId="{A02BE98F-4F14-4710-A0A6-C66AA721A283}" type="presParOf" srcId="{E366E5A0-DA90-417A-8A95-09CE389A33D2}" destId="{449AD35E-7974-40DE-BB84-8DE77719518C}" srcOrd="1" destOrd="0" presId="urn:microsoft.com/office/officeart/2005/8/layout/hierarchy1"/>
    <dgm:cxn modelId="{7C7454B0-5EA7-4E7F-A55E-FED4B0A84292}" type="presParOf" srcId="{449AD35E-7974-40DE-BB84-8DE77719518C}" destId="{EBEF048B-D263-4E13-ADDA-3C495BC93465}" srcOrd="0" destOrd="0" presId="urn:microsoft.com/office/officeart/2005/8/layout/hierarchy1"/>
    <dgm:cxn modelId="{46B366E6-9ED3-4C51-8D82-4FB80FD2C9C0}" type="presParOf" srcId="{449AD35E-7974-40DE-BB84-8DE77719518C}" destId="{C366C1C1-C859-4CAC-89C1-79F2E2749811}" srcOrd="1" destOrd="0" presId="urn:microsoft.com/office/officeart/2005/8/layout/hierarchy1"/>
    <dgm:cxn modelId="{2BF3DCD0-A2E8-4805-8D10-2907FA7BEDB0}" type="presParOf" srcId="{C366C1C1-C859-4CAC-89C1-79F2E2749811}" destId="{469708F8-CC6C-40D5-8090-9C65017AF0BE}" srcOrd="0" destOrd="0" presId="urn:microsoft.com/office/officeart/2005/8/layout/hierarchy1"/>
    <dgm:cxn modelId="{A38A46FA-04B3-4761-8052-1C1F4F2F1217}" type="presParOf" srcId="{469708F8-CC6C-40D5-8090-9C65017AF0BE}" destId="{63CD3831-6177-4D49-B27F-397A9ECB7F4B}" srcOrd="0" destOrd="0" presId="urn:microsoft.com/office/officeart/2005/8/layout/hierarchy1"/>
    <dgm:cxn modelId="{87E1A63D-228C-4FA3-9FFE-F274E0405812}" type="presParOf" srcId="{469708F8-CC6C-40D5-8090-9C65017AF0BE}" destId="{9EDEA3A3-614A-401D-BCCF-681DBD5734D4}" srcOrd="1" destOrd="0" presId="urn:microsoft.com/office/officeart/2005/8/layout/hierarchy1"/>
    <dgm:cxn modelId="{03D6CDF8-B686-4ECF-8D5D-1CF368B64D51}" type="presParOf" srcId="{C366C1C1-C859-4CAC-89C1-79F2E2749811}" destId="{89BB6497-9D00-42E9-88B9-5EF8FA4ABE23}" srcOrd="1" destOrd="0" presId="urn:microsoft.com/office/officeart/2005/8/layout/hierarchy1"/>
    <dgm:cxn modelId="{6B288A20-A32E-469F-86F6-DBA581F682D7}" type="presParOf" srcId="{7F1DF494-2E31-4596-9217-0A460DC5241C}" destId="{46F72487-AA79-43FB-80EE-B4D6FB158D60}" srcOrd="4" destOrd="0" presId="urn:microsoft.com/office/officeart/2005/8/layout/hierarchy1"/>
    <dgm:cxn modelId="{BBF67755-FAAB-43AF-B38C-BEE023AAFAB7}" type="presParOf" srcId="{7F1DF494-2E31-4596-9217-0A460DC5241C}" destId="{FAC804D7-BC91-4E0A-A4E9-4BEC7E4799FA}" srcOrd="5" destOrd="0" presId="urn:microsoft.com/office/officeart/2005/8/layout/hierarchy1"/>
    <dgm:cxn modelId="{FE69AFF9-2F46-406D-AF0E-E142B1345696}" type="presParOf" srcId="{FAC804D7-BC91-4E0A-A4E9-4BEC7E4799FA}" destId="{5327469F-97D8-42BF-8225-F6769A996A07}" srcOrd="0" destOrd="0" presId="urn:microsoft.com/office/officeart/2005/8/layout/hierarchy1"/>
    <dgm:cxn modelId="{2C9E7979-3990-4181-ACAE-8CCE1AD6DC7D}" type="presParOf" srcId="{5327469F-97D8-42BF-8225-F6769A996A07}" destId="{F6D17860-0030-4343-A193-E80512B50989}" srcOrd="0" destOrd="0" presId="urn:microsoft.com/office/officeart/2005/8/layout/hierarchy1"/>
    <dgm:cxn modelId="{1CBAD340-ADAF-4876-9BCF-B2E01F575CC8}" type="presParOf" srcId="{5327469F-97D8-42BF-8225-F6769A996A07}" destId="{0A8CD2ED-2A85-4673-AA23-EF71CC185821}" srcOrd="1" destOrd="0" presId="urn:microsoft.com/office/officeart/2005/8/layout/hierarchy1"/>
    <dgm:cxn modelId="{304A3F1F-36AE-4D8F-AA6A-99F7AD7CE7A8}" type="presParOf" srcId="{FAC804D7-BC91-4E0A-A4E9-4BEC7E4799FA}" destId="{28DE7F9C-3A21-4EE5-BD01-155065110562}" srcOrd="1" destOrd="0" presId="urn:microsoft.com/office/officeart/2005/8/layout/hierarchy1"/>
    <dgm:cxn modelId="{CACAE5BB-F2E5-48DF-848C-0BE6558BDDB8}" type="presParOf" srcId="{28DE7F9C-3A21-4EE5-BD01-155065110562}" destId="{0A03F300-A780-4341-A37C-9D8EA77954E9}" srcOrd="0" destOrd="0" presId="urn:microsoft.com/office/officeart/2005/8/layout/hierarchy1"/>
    <dgm:cxn modelId="{6C08C4DC-2CA7-4553-9B9F-FD45299D0320}" type="presParOf" srcId="{28DE7F9C-3A21-4EE5-BD01-155065110562}" destId="{4E62D4D2-64C3-4746-B9AA-471E680FB30E}" srcOrd="1" destOrd="0" presId="urn:microsoft.com/office/officeart/2005/8/layout/hierarchy1"/>
    <dgm:cxn modelId="{5794A7BE-D567-432A-997D-3D090F75A4F4}" type="presParOf" srcId="{4E62D4D2-64C3-4746-B9AA-471E680FB30E}" destId="{6EFD3E18-5D9D-4E17-8AAC-E10D44D26297}" srcOrd="0" destOrd="0" presId="urn:microsoft.com/office/officeart/2005/8/layout/hierarchy1"/>
    <dgm:cxn modelId="{806F9EAB-477D-4407-82F2-D7738F49970C}" type="presParOf" srcId="{6EFD3E18-5D9D-4E17-8AAC-E10D44D26297}" destId="{B71311F0-7AFD-4DD3-8796-C9C40A77986A}" srcOrd="0" destOrd="0" presId="urn:microsoft.com/office/officeart/2005/8/layout/hierarchy1"/>
    <dgm:cxn modelId="{7F20EC27-4E47-45C7-AC1B-562FBD674605}" type="presParOf" srcId="{6EFD3E18-5D9D-4E17-8AAC-E10D44D26297}" destId="{7C2A5FCE-9184-4D26-9511-D39EE15F8AD7}" srcOrd="1" destOrd="0" presId="urn:microsoft.com/office/officeart/2005/8/layout/hierarchy1"/>
    <dgm:cxn modelId="{1A9117D2-5BD2-49A3-B789-8580726B3C58}" type="presParOf" srcId="{4E62D4D2-64C3-4746-B9AA-471E680FB30E}" destId="{02E47175-EC2B-4E04-AAE2-9730D58FE4C5}" srcOrd="1" destOrd="0" presId="urn:microsoft.com/office/officeart/2005/8/layout/hierarchy1"/>
    <dgm:cxn modelId="{91085B68-D78B-42F9-8B8F-13A6622F3A75}" type="presParOf" srcId="{02E47175-EC2B-4E04-AAE2-9730D58FE4C5}" destId="{5F4026E4-6807-43FE-9216-EA93E62F091F}" srcOrd="0" destOrd="0" presId="urn:microsoft.com/office/officeart/2005/8/layout/hierarchy1"/>
    <dgm:cxn modelId="{4268D24D-8A7D-4FA5-8647-FA976EAEE791}" type="presParOf" srcId="{02E47175-EC2B-4E04-AAE2-9730D58FE4C5}" destId="{63C69214-C7CD-4F53-A527-7A19DFAED4B1}" srcOrd="1" destOrd="0" presId="urn:microsoft.com/office/officeart/2005/8/layout/hierarchy1"/>
    <dgm:cxn modelId="{08EB8D60-94FF-40F5-BBCE-C93FAD1263F7}" type="presParOf" srcId="{63C69214-C7CD-4F53-A527-7A19DFAED4B1}" destId="{0A8949D2-4178-4BF8-ABDF-8946280A7C20}" srcOrd="0" destOrd="0" presId="urn:microsoft.com/office/officeart/2005/8/layout/hierarchy1"/>
    <dgm:cxn modelId="{D961CA2C-D9CE-4DDA-82B6-C000A9F4BF12}" type="presParOf" srcId="{0A8949D2-4178-4BF8-ABDF-8946280A7C20}" destId="{BADD4E43-A3FD-4259-9A92-CEEF81115172}" srcOrd="0" destOrd="0" presId="urn:microsoft.com/office/officeart/2005/8/layout/hierarchy1"/>
    <dgm:cxn modelId="{7DC3198F-0F52-46F1-ACF0-E9032789C3F6}" type="presParOf" srcId="{0A8949D2-4178-4BF8-ABDF-8946280A7C20}" destId="{08D5A9BB-F06F-4DA9-97B3-6E28CB3C779A}" srcOrd="1" destOrd="0" presId="urn:microsoft.com/office/officeart/2005/8/layout/hierarchy1"/>
    <dgm:cxn modelId="{00F844EC-9827-498C-97CF-668ADCCE99E5}" type="presParOf" srcId="{63C69214-C7CD-4F53-A527-7A19DFAED4B1}" destId="{1913A488-1B88-44D9-93DC-5C496ED8BBF6}" srcOrd="1" destOrd="0" presId="urn:microsoft.com/office/officeart/2005/8/layout/hierarchy1"/>
    <dgm:cxn modelId="{84B98A2F-9AFA-440D-957A-1FF2AD7BE46A}" type="presParOf" srcId="{7F1DF494-2E31-4596-9217-0A460DC5241C}" destId="{B5D48BDC-DC12-4CF6-AA31-4B778C6AC6D6}" srcOrd="6" destOrd="0" presId="urn:microsoft.com/office/officeart/2005/8/layout/hierarchy1"/>
    <dgm:cxn modelId="{1BF9B524-60C6-4DA0-98EA-52069BD4BF49}" type="presParOf" srcId="{7F1DF494-2E31-4596-9217-0A460DC5241C}" destId="{D62C0FF7-14A4-444A-8FBB-3C1777F55AA2}" srcOrd="7" destOrd="0" presId="urn:microsoft.com/office/officeart/2005/8/layout/hierarchy1"/>
    <dgm:cxn modelId="{AB7BDEE4-DDF8-430F-929D-DEBA2A23D7CB}" type="presParOf" srcId="{D62C0FF7-14A4-444A-8FBB-3C1777F55AA2}" destId="{71718CD9-3228-4748-9364-8EECA3D41651}" srcOrd="0" destOrd="0" presId="urn:microsoft.com/office/officeart/2005/8/layout/hierarchy1"/>
    <dgm:cxn modelId="{D58EF2BE-BD31-4153-B6FB-806A497CF3C4}" type="presParOf" srcId="{71718CD9-3228-4748-9364-8EECA3D41651}" destId="{E61B99E2-CC8B-4A70-AF36-0D096B8C845D}" srcOrd="0" destOrd="0" presId="urn:microsoft.com/office/officeart/2005/8/layout/hierarchy1"/>
    <dgm:cxn modelId="{177687D9-BB86-4673-84A7-858534232318}" type="presParOf" srcId="{71718CD9-3228-4748-9364-8EECA3D41651}" destId="{CE18DACD-84F8-4D81-B32D-904556A63E59}" srcOrd="1" destOrd="0" presId="urn:microsoft.com/office/officeart/2005/8/layout/hierarchy1"/>
    <dgm:cxn modelId="{F13AF106-9ACC-4DB1-901B-2CB273680CB4}" type="presParOf" srcId="{D62C0FF7-14A4-444A-8FBB-3C1777F55AA2}" destId="{0DCBF441-8AA5-4307-84B2-988AFBD1EA6C}" srcOrd="1" destOrd="0" presId="urn:microsoft.com/office/officeart/2005/8/layout/hierarchy1"/>
    <dgm:cxn modelId="{1F0B40D9-80F1-404C-9704-6CF170758C2F}" type="presParOf" srcId="{0DCBF441-8AA5-4307-84B2-988AFBD1EA6C}" destId="{6145F5B2-F066-4A5A-AFF9-1533C960A810}" srcOrd="0" destOrd="0" presId="urn:microsoft.com/office/officeart/2005/8/layout/hierarchy1"/>
    <dgm:cxn modelId="{74D5B6B6-1E10-47FC-AC80-FB064516AE1C}" type="presParOf" srcId="{0DCBF441-8AA5-4307-84B2-988AFBD1EA6C}" destId="{5921EFAA-8C48-45B3-AB71-430FEEE00FA4}" srcOrd="1" destOrd="0" presId="urn:microsoft.com/office/officeart/2005/8/layout/hierarchy1"/>
    <dgm:cxn modelId="{BF2339C8-995F-4032-B083-CFBE7C7DE008}" type="presParOf" srcId="{5921EFAA-8C48-45B3-AB71-430FEEE00FA4}" destId="{DDFF9DC2-F906-4DA4-993C-5A9E8F63F509}" srcOrd="0" destOrd="0" presId="urn:microsoft.com/office/officeart/2005/8/layout/hierarchy1"/>
    <dgm:cxn modelId="{C4BA732F-C705-472C-AB65-F23004DB1914}" type="presParOf" srcId="{DDFF9DC2-F906-4DA4-993C-5A9E8F63F509}" destId="{FF8C6B3B-65E3-4816-84FF-B21887BE3A5E}" srcOrd="0" destOrd="0" presId="urn:microsoft.com/office/officeart/2005/8/layout/hierarchy1"/>
    <dgm:cxn modelId="{29BE230B-415C-48A5-A7F3-9695283D9B36}" type="presParOf" srcId="{DDFF9DC2-F906-4DA4-993C-5A9E8F63F509}" destId="{F8F5C562-D9F3-4CDF-9112-6A773CF36B07}" srcOrd="1" destOrd="0" presId="urn:microsoft.com/office/officeart/2005/8/layout/hierarchy1"/>
    <dgm:cxn modelId="{D9849231-A568-4EC9-8826-54F55EDC5C70}" type="presParOf" srcId="{5921EFAA-8C48-45B3-AB71-430FEEE00FA4}" destId="{0ACD5AB8-12F8-4223-94F3-CA5807F546BA}" srcOrd="1" destOrd="0" presId="urn:microsoft.com/office/officeart/2005/8/layout/hierarchy1"/>
    <dgm:cxn modelId="{1407422B-146E-4046-BA75-38330C8A0843}" type="presParOf" srcId="{0ACD5AB8-12F8-4223-94F3-CA5807F546BA}" destId="{32FFD4C5-AA4D-4A99-B3D1-D61240B00A5C}" srcOrd="0" destOrd="0" presId="urn:microsoft.com/office/officeart/2005/8/layout/hierarchy1"/>
    <dgm:cxn modelId="{A27DA140-5197-4607-B9E6-71A7A6F07B1D}" type="presParOf" srcId="{0ACD5AB8-12F8-4223-94F3-CA5807F546BA}" destId="{57481D4F-848C-43D7-80C4-4510DDFE30DB}" srcOrd="1" destOrd="0" presId="urn:microsoft.com/office/officeart/2005/8/layout/hierarchy1"/>
    <dgm:cxn modelId="{844976B5-D6F7-4FF5-80DF-E71F241D4B09}" type="presParOf" srcId="{57481D4F-848C-43D7-80C4-4510DDFE30DB}" destId="{7892F012-ECED-4125-8C5A-AF9B71DA5535}" srcOrd="0" destOrd="0" presId="urn:microsoft.com/office/officeart/2005/8/layout/hierarchy1"/>
    <dgm:cxn modelId="{D39F3A2D-0940-4ADC-B134-E510CBB43872}" type="presParOf" srcId="{7892F012-ECED-4125-8C5A-AF9B71DA5535}" destId="{3109BFFE-7FC7-4952-B03B-CAC05B036C00}" srcOrd="0" destOrd="0" presId="urn:microsoft.com/office/officeart/2005/8/layout/hierarchy1"/>
    <dgm:cxn modelId="{EA7E772F-A711-458F-B3D6-735AD92283AD}" type="presParOf" srcId="{7892F012-ECED-4125-8C5A-AF9B71DA5535}" destId="{20C66ED1-ECDD-4D39-B0BE-03F09931DA3F}" srcOrd="1" destOrd="0" presId="urn:microsoft.com/office/officeart/2005/8/layout/hierarchy1"/>
    <dgm:cxn modelId="{40D522F1-39D3-4089-B8E6-04B49AA1B4FE}" type="presParOf" srcId="{57481D4F-848C-43D7-80C4-4510DDFE30DB}" destId="{C67FB38C-ABBB-48A2-A30D-24395841E5EB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4D2C87F-EE40-4455-AEB9-5C387AD56EB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1D9D8A34-9862-4AFF-8F85-B0D9B64DC0F2}">
      <dgm:prSet phldrT="[Text]"/>
      <dgm:spPr/>
      <dgm:t>
        <a:bodyPr/>
        <a:lstStyle/>
        <a:p>
          <a:r>
            <a:rPr lang="en-US" dirty="0"/>
            <a:t>40% Theory Classroom session</a:t>
          </a:r>
          <a:endParaRPr lang="en-IN" dirty="0"/>
        </a:p>
      </dgm:t>
    </dgm:pt>
    <dgm:pt modelId="{05E12F3F-E28F-4510-8A43-C3B3FB5E0C37}" type="parTrans" cxnId="{AC301C07-4E19-406A-B018-BD56A9B6B94E}">
      <dgm:prSet/>
      <dgm:spPr/>
      <dgm:t>
        <a:bodyPr/>
        <a:lstStyle/>
        <a:p>
          <a:endParaRPr lang="en-IN"/>
        </a:p>
      </dgm:t>
    </dgm:pt>
    <dgm:pt modelId="{8B9608D6-A18D-40DA-8218-C5D9CDF0A617}" type="sibTrans" cxnId="{AC301C07-4E19-406A-B018-BD56A9B6B94E}">
      <dgm:prSet/>
      <dgm:spPr/>
      <dgm:t>
        <a:bodyPr/>
        <a:lstStyle/>
        <a:p>
          <a:endParaRPr lang="en-IN"/>
        </a:p>
      </dgm:t>
    </dgm:pt>
    <dgm:pt modelId="{9BB71EF2-11A2-4229-BBD5-B768956333C6}">
      <dgm:prSet phldrT="[Text]"/>
      <dgm:spPr/>
      <dgm:t>
        <a:bodyPr/>
        <a:lstStyle/>
        <a:p>
          <a:r>
            <a:rPr lang="en-US" dirty="0"/>
            <a:t>60% Practical In House training</a:t>
          </a:r>
          <a:endParaRPr lang="en-IN" dirty="0"/>
        </a:p>
      </dgm:t>
    </dgm:pt>
    <dgm:pt modelId="{647BD339-264B-40E5-9182-6C8B890DBB1D}" type="parTrans" cxnId="{981DBA8D-9615-43BD-9EF1-6B3063E9EB6D}">
      <dgm:prSet/>
      <dgm:spPr/>
      <dgm:t>
        <a:bodyPr/>
        <a:lstStyle/>
        <a:p>
          <a:endParaRPr lang="en-IN"/>
        </a:p>
      </dgm:t>
    </dgm:pt>
    <dgm:pt modelId="{068FC74E-C9D3-4E9D-8367-5956A1B3C608}" type="sibTrans" cxnId="{981DBA8D-9615-43BD-9EF1-6B3063E9EB6D}">
      <dgm:prSet/>
      <dgm:spPr/>
      <dgm:t>
        <a:bodyPr/>
        <a:lstStyle/>
        <a:p>
          <a:endParaRPr lang="en-IN"/>
        </a:p>
      </dgm:t>
    </dgm:pt>
    <dgm:pt modelId="{015AFC20-E858-4285-AE0C-D3BFBF85CAB2}">
      <dgm:prSet phldrT="[Text]"/>
      <dgm:spPr/>
      <dgm:t>
        <a:bodyPr/>
        <a:lstStyle/>
        <a:p>
          <a:r>
            <a:rPr lang="en-US" dirty="0"/>
            <a:t>Final Exam</a:t>
          </a:r>
          <a:endParaRPr lang="en-IN" dirty="0"/>
        </a:p>
      </dgm:t>
    </dgm:pt>
    <dgm:pt modelId="{9A5CBF4F-9D66-4369-A7AC-10DB00E9C674}" type="parTrans" cxnId="{BF238790-BB84-4B28-9C92-9DBB54A14987}">
      <dgm:prSet/>
      <dgm:spPr/>
      <dgm:t>
        <a:bodyPr/>
        <a:lstStyle/>
        <a:p>
          <a:endParaRPr lang="en-IN"/>
        </a:p>
      </dgm:t>
    </dgm:pt>
    <dgm:pt modelId="{1CE40FAE-BE4B-4BBB-B0DB-58A4A89F91CB}" type="sibTrans" cxnId="{BF238790-BB84-4B28-9C92-9DBB54A14987}">
      <dgm:prSet/>
      <dgm:spPr/>
      <dgm:t>
        <a:bodyPr/>
        <a:lstStyle/>
        <a:p>
          <a:endParaRPr lang="en-IN"/>
        </a:p>
      </dgm:t>
    </dgm:pt>
    <dgm:pt modelId="{F421DAC0-CF3D-4208-9D4E-010760704F0A}" type="pres">
      <dgm:prSet presAssocID="{94D2C87F-EE40-4455-AEB9-5C387AD56EB3}" presName="CompostProcess" presStyleCnt="0">
        <dgm:presLayoutVars>
          <dgm:dir/>
          <dgm:resizeHandles val="exact"/>
        </dgm:presLayoutVars>
      </dgm:prSet>
      <dgm:spPr/>
    </dgm:pt>
    <dgm:pt modelId="{9B811254-42B9-4A7C-8908-20BFD7F9366A}" type="pres">
      <dgm:prSet presAssocID="{94D2C87F-EE40-4455-AEB9-5C387AD56EB3}" presName="arrow" presStyleLbl="bgShp" presStyleIdx="0" presStyleCnt="1"/>
      <dgm:spPr/>
    </dgm:pt>
    <dgm:pt modelId="{754D2DA7-B3E8-49F1-BDCA-F8302839C5CD}" type="pres">
      <dgm:prSet presAssocID="{94D2C87F-EE40-4455-AEB9-5C387AD56EB3}" presName="linearProcess" presStyleCnt="0"/>
      <dgm:spPr/>
    </dgm:pt>
    <dgm:pt modelId="{44C0350D-0519-432F-82A1-E176FC897AEF}" type="pres">
      <dgm:prSet presAssocID="{1D9D8A34-9862-4AFF-8F85-B0D9B64DC0F2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FD7984-1B4A-4BFD-8E6E-92965A02C128}" type="pres">
      <dgm:prSet presAssocID="{8B9608D6-A18D-40DA-8218-C5D9CDF0A617}" presName="sibTrans" presStyleCnt="0"/>
      <dgm:spPr/>
    </dgm:pt>
    <dgm:pt modelId="{D964D4B5-5D3B-4220-B693-BE2BC007DD8D}" type="pres">
      <dgm:prSet presAssocID="{9BB71EF2-11A2-4229-BBD5-B768956333C6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F83932-1952-4082-A388-7F170A9CB0D1}" type="pres">
      <dgm:prSet presAssocID="{068FC74E-C9D3-4E9D-8367-5956A1B3C608}" presName="sibTrans" presStyleCnt="0"/>
      <dgm:spPr/>
    </dgm:pt>
    <dgm:pt modelId="{7207E301-9131-4C60-A82B-3112AB6E14E9}" type="pres">
      <dgm:prSet presAssocID="{015AFC20-E858-4285-AE0C-D3BFBF85CAB2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8F88F59-D099-4370-9D9B-88FBC9489C6A}" type="presOf" srcId="{1D9D8A34-9862-4AFF-8F85-B0D9B64DC0F2}" destId="{44C0350D-0519-432F-82A1-E176FC897AEF}" srcOrd="0" destOrd="0" presId="urn:microsoft.com/office/officeart/2005/8/layout/hProcess9"/>
    <dgm:cxn modelId="{2A8277DD-ADD2-4A9A-B672-9F16554CFC91}" type="presOf" srcId="{9BB71EF2-11A2-4229-BBD5-B768956333C6}" destId="{D964D4B5-5D3B-4220-B693-BE2BC007DD8D}" srcOrd="0" destOrd="0" presId="urn:microsoft.com/office/officeart/2005/8/layout/hProcess9"/>
    <dgm:cxn modelId="{AC301C07-4E19-406A-B018-BD56A9B6B94E}" srcId="{94D2C87F-EE40-4455-AEB9-5C387AD56EB3}" destId="{1D9D8A34-9862-4AFF-8F85-B0D9B64DC0F2}" srcOrd="0" destOrd="0" parTransId="{05E12F3F-E28F-4510-8A43-C3B3FB5E0C37}" sibTransId="{8B9608D6-A18D-40DA-8218-C5D9CDF0A617}"/>
    <dgm:cxn modelId="{BF238790-BB84-4B28-9C92-9DBB54A14987}" srcId="{94D2C87F-EE40-4455-AEB9-5C387AD56EB3}" destId="{015AFC20-E858-4285-AE0C-D3BFBF85CAB2}" srcOrd="2" destOrd="0" parTransId="{9A5CBF4F-9D66-4369-A7AC-10DB00E9C674}" sibTransId="{1CE40FAE-BE4B-4BBB-B0DB-58A4A89F91CB}"/>
    <dgm:cxn modelId="{981DBA8D-9615-43BD-9EF1-6B3063E9EB6D}" srcId="{94D2C87F-EE40-4455-AEB9-5C387AD56EB3}" destId="{9BB71EF2-11A2-4229-BBD5-B768956333C6}" srcOrd="1" destOrd="0" parTransId="{647BD339-264B-40E5-9182-6C8B890DBB1D}" sibTransId="{068FC74E-C9D3-4E9D-8367-5956A1B3C608}"/>
    <dgm:cxn modelId="{6E3EEFDE-287B-4931-A363-FC3777EC93C5}" type="presOf" srcId="{94D2C87F-EE40-4455-AEB9-5C387AD56EB3}" destId="{F421DAC0-CF3D-4208-9D4E-010760704F0A}" srcOrd="0" destOrd="0" presId="urn:microsoft.com/office/officeart/2005/8/layout/hProcess9"/>
    <dgm:cxn modelId="{3D4AF952-C6F4-440E-90BD-238966122591}" type="presOf" srcId="{015AFC20-E858-4285-AE0C-D3BFBF85CAB2}" destId="{7207E301-9131-4C60-A82B-3112AB6E14E9}" srcOrd="0" destOrd="0" presId="urn:microsoft.com/office/officeart/2005/8/layout/hProcess9"/>
    <dgm:cxn modelId="{5F432F97-EDFC-4FB3-90EC-48D72A5C9321}" type="presParOf" srcId="{F421DAC0-CF3D-4208-9D4E-010760704F0A}" destId="{9B811254-42B9-4A7C-8908-20BFD7F9366A}" srcOrd="0" destOrd="0" presId="urn:microsoft.com/office/officeart/2005/8/layout/hProcess9"/>
    <dgm:cxn modelId="{929BB474-E517-482E-91B3-D5EBB2F15939}" type="presParOf" srcId="{F421DAC0-CF3D-4208-9D4E-010760704F0A}" destId="{754D2DA7-B3E8-49F1-BDCA-F8302839C5CD}" srcOrd="1" destOrd="0" presId="urn:microsoft.com/office/officeart/2005/8/layout/hProcess9"/>
    <dgm:cxn modelId="{AEEF0281-BD77-4026-BADA-C83068307700}" type="presParOf" srcId="{754D2DA7-B3E8-49F1-BDCA-F8302839C5CD}" destId="{44C0350D-0519-432F-82A1-E176FC897AEF}" srcOrd="0" destOrd="0" presId="urn:microsoft.com/office/officeart/2005/8/layout/hProcess9"/>
    <dgm:cxn modelId="{4BF7BE45-7A5C-4460-ADA3-6984C72DA627}" type="presParOf" srcId="{754D2DA7-B3E8-49F1-BDCA-F8302839C5CD}" destId="{C8FD7984-1B4A-4BFD-8E6E-92965A02C128}" srcOrd="1" destOrd="0" presId="urn:microsoft.com/office/officeart/2005/8/layout/hProcess9"/>
    <dgm:cxn modelId="{B858A7CA-80B5-4583-9A8C-8DFD5B0CEE33}" type="presParOf" srcId="{754D2DA7-B3E8-49F1-BDCA-F8302839C5CD}" destId="{D964D4B5-5D3B-4220-B693-BE2BC007DD8D}" srcOrd="2" destOrd="0" presId="urn:microsoft.com/office/officeart/2005/8/layout/hProcess9"/>
    <dgm:cxn modelId="{481E6331-1A57-4091-830B-73C3C6132A8F}" type="presParOf" srcId="{754D2DA7-B3E8-49F1-BDCA-F8302839C5CD}" destId="{ABF83932-1952-4082-A388-7F170A9CB0D1}" srcOrd="3" destOrd="0" presId="urn:microsoft.com/office/officeart/2005/8/layout/hProcess9"/>
    <dgm:cxn modelId="{55984064-7AF8-4A9A-B7D0-7E83219419A5}" type="presParOf" srcId="{754D2DA7-B3E8-49F1-BDCA-F8302839C5CD}" destId="{7207E301-9131-4C60-A82B-3112AB6E14E9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FD99918-3649-47A3-A01F-4F1F8FDC4F5B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93FC7BA-3EF8-4D85-9A35-28780479CCC3}">
      <dgm:prSet phldrT="[Text]" custT="1"/>
      <dgm:spPr>
        <a:solidFill>
          <a:srgbClr val="F41857">
            <a:alpha val="75000"/>
          </a:srgbClr>
        </a:solidFill>
      </dgm:spPr>
      <dgm:t>
        <a:bodyPr/>
        <a:lstStyle/>
        <a:p>
          <a:r>
            <a:rPr lang="en-IN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Advanced Home Appliances Training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3 Months </a:t>
          </a:r>
        </a:p>
        <a:p>
          <a:r>
            <a:rPr lang="en-IN" sz="1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Refrigeration, Repairs and Servicing of Refrigerators, Air conditioners, Washing machine, Microwave, Small home appliances, Engineering drawing, Communications and Customer handling</a:t>
          </a:r>
          <a:endParaRPr lang="en-IN" sz="10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52F91D-2BFF-4A51-B1EB-2EDCF56B7DA8}" type="parTrans" cxnId="{55A4ED60-D1C2-41E4-87DF-A1392AD69467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BC1BB561-CB83-41A5-B710-3528ED326957}" type="sibTrans" cxnId="{55A4ED60-D1C2-41E4-87DF-A1392AD69467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4A983AD3-BDA9-4ADD-AF18-EFD30A52F3F5}">
      <dgm:prSet phldrT="[Text]" custT="1"/>
      <dgm:spPr/>
      <dgm:t>
        <a:bodyPr/>
        <a:lstStyle/>
        <a:p>
          <a:r>
            <a:rPr lang="en-IN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Advanced Refrigeration and Air-conditioning 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 Month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Refrigeration, Repairs and Servicing of Refrigerators, Air conditioners</a:t>
          </a:r>
          <a:r>
            <a:rPr lang="en-IN" sz="9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en-IN" sz="9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8A31C0B-A713-46FB-910A-4AC96CB0BCCC}" type="parTrans" cxnId="{545E4DD5-8920-4AE8-9BAA-EC7C3F8D47AA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3A98B173-A102-417C-AD70-3D3E7AD59788}" type="sibTrans" cxnId="{545E4DD5-8920-4AE8-9BAA-EC7C3F8D47AA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F6AF63F5-6088-4664-A924-32B85215A3A7}">
      <dgm:prSet phldrT="[Text]" custT="1"/>
      <dgm:spPr>
        <a:solidFill>
          <a:srgbClr val="32E329">
            <a:alpha val="74000"/>
          </a:srgbClr>
        </a:solidFill>
      </dgm:spPr>
      <dgm:t>
        <a:bodyPr/>
        <a:lstStyle/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Refrigeration &amp; Air Conditioning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Refrigeration, Servicing of Refrigerators and Air conditioner</a:t>
          </a:r>
          <a:endParaRPr lang="en-IN" sz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F83DC60-5E14-4D65-8CB3-F7A544A5655A}" type="parTrans" cxnId="{ACB14255-0DFF-4A0E-B906-4C0CE8F6BC38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25C471BF-527E-4D69-B7AB-789813C25DA3}" type="sibTrans" cxnId="{ACB14255-0DFF-4A0E-B906-4C0CE8F6BC38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9AD848C6-5746-46D2-80B0-3A0C24DF0D53}">
      <dgm:prSet phldrT="[Text]" custT="1"/>
      <dgm:spPr>
        <a:solidFill>
          <a:srgbClr val="32E329">
            <a:alpha val="74000"/>
          </a:srgbClr>
        </a:solidFill>
      </dgm:spPr>
      <dgm:t>
        <a:bodyPr/>
        <a:lstStyle/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 &amp; Maintenance of Air conditioners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Servicing and Repairs of Air conditioner</a:t>
          </a:r>
        </a:p>
      </dgm:t>
    </dgm:pt>
    <dgm:pt modelId="{3AFC25E9-8ADE-43AE-A080-F5B2435409FA}" type="parTrans" cxnId="{3B066DAC-A5B2-4849-913B-0E0C78786B50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825C8F4D-A3A1-4AC1-9013-75BEA76F676A}" type="sibTrans" cxnId="{3B066DAC-A5B2-4849-913B-0E0C78786B50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CC79BC86-1F47-4143-889E-3A0D4E0D40A9}">
      <dgm:prSet phldrT="[Text]" custT="1"/>
      <dgm:spPr/>
      <dgm:t>
        <a:bodyPr/>
        <a:lstStyle/>
        <a:p>
          <a:r>
            <a:rPr lang="en-IN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Advanced Washing Machine and Microwave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 Month 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s and Servicing of Washing machine, Microwave, Small home appliances.</a:t>
          </a:r>
          <a:endParaRPr lang="en-IN" sz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1B5B354-42EB-432F-8D74-0772E173F8FC}" type="parTrans" cxnId="{EA3382CB-BF49-445C-9EC4-8FE6E80D443A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8F2EB614-7150-44F9-9D21-F893C8573B51}" type="sibTrans" cxnId="{EA3382CB-BF49-445C-9EC4-8FE6E80D443A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C98937EB-9E18-4ED7-8783-03CF63A74B6C}">
      <dgm:prSet phldrT="[Text]" custT="1"/>
      <dgm:spPr>
        <a:solidFill>
          <a:srgbClr val="32E329">
            <a:alpha val="74000"/>
          </a:srgbClr>
        </a:solidFill>
      </dgm:spPr>
      <dgm:t>
        <a:bodyPr/>
        <a:lstStyle/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 &amp; Maintenance of Washing machine and Microwave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Servicing and Repairs of Washing machine and microwave</a:t>
          </a:r>
          <a:endParaRPr lang="en-IN" sz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5203C7-D5A9-4D87-A40B-AD495A45E960}" type="parTrans" cxnId="{618A04EE-3680-4BB4-B6C2-E6D6C7A05DC6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B5D28914-9E6A-47FC-81DC-3141A81765F9}" type="sibTrans" cxnId="{618A04EE-3680-4BB4-B6C2-E6D6C7A05DC6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AAB082A5-637C-4A1B-AE88-6C0108B98E5C}">
      <dgm:prSet custT="1"/>
      <dgm:spPr>
        <a:solidFill>
          <a:srgbClr val="32E329">
            <a:alpha val="74000"/>
          </a:srgbClr>
        </a:solidFill>
      </dgm:spPr>
      <dgm:t>
        <a:bodyPr/>
        <a:lstStyle/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 &amp; Maintenance of Refrigerators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Servicing and Repairs of Refrigerator</a:t>
          </a:r>
          <a:endParaRPr lang="en-IN" sz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AD3D64-2F29-4675-B2B7-B9F1DE9FB4B3}" type="parTrans" cxnId="{CB394371-2434-4D70-9885-03581B7F6506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A72CE0BE-DCDB-4A01-AA52-5D88724A293D}" type="sibTrans" cxnId="{CB394371-2434-4D70-9885-03581B7F6506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F77FBB53-C1A1-4106-9CFE-50C421AD538E}">
      <dgm:prSet phldrT="[Text]" custT="1"/>
      <dgm:spPr>
        <a:solidFill>
          <a:srgbClr val="32E329">
            <a:alpha val="74000"/>
          </a:srgbClr>
        </a:solidFill>
      </dgm:spPr>
      <dgm:t>
        <a:bodyPr/>
        <a:lstStyle/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Home Appliance Repairs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r>
            <a:rPr lang="en-IN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s of Electric iron, hotplate, geyser, mixer grinder</a:t>
          </a:r>
          <a:endParaRPr lang="en-IN" sz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723D22-976D-4E64-81F4-2D050A15438E}" type="parTrans" cxnId="{20E57B36-3720-4ECE-A287-105DA9B2293E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21CDC591-5646-46CA-9D4C-EAA16397203A}" type="sibTrans" cxnId="{20E57B36-3720-4ECE-A287-105DA9B2293E}">
      <dgm:prSet/>
      <dgm:spPr/>
      <dgm:t>
        <a:bodyPr/>
        <a:lstStyle/>
        <a:p>
          <a:endParaRPr lang="en-IN">
            <a:solidFill>
              <a:srgbClr val="FFFFFF"/>
            </a:solidFill>
          </a:endParaRPr>
        </a:p>
      </dgm:t>
    </dgm:pt>
    <dgm:pt modelId="{2ED3F499-1908-4D26-A52E-5D7B87774094}" type="pres">
      <dgm:prSet presAssocID="{BFD99918-3649-47A3-A01F-4F1F8FDC4F5B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61C8E5FA-3CC0-4EBF-B5C3-503F5F60BF80}" type="pres">
      <dgm:prSet presAssocID="{993FC7BA-3EF8-4D85-9A35-28780479CCC3}" presName="vertOne" presStyleCnt="0"/>
      <dgm:spPr/>
    </dgm:pt>
    <dgm:pt modelId="{2174BD5A-8601-4384-9D3B-0B1F57CC9E20}" type="pres">
      <dgm:prSet presAssocID="{993FC7BA-3EF8-4D85-9A35-28780479CCC3}" presName="txOne" presStyleLbl="node0" presStyleIdx="0" presStyleCnt="1" custLinFactY="200000" custLinFactNeighborX="11" custLinFactNeighborY="200444">
        <dgm:presLayoutVars>
          <dgm:chPref val="3"/>
        </dgm:presLayoutVars>
      </dgm:prSet>
      <dgm:spPr>
        <a:prstGeom prst="snip2DiagRect">
          <a:avLst/>
        </a:prstGeom>
      </dgm:spPr>
      <dgm:t>
        <a:bodyPr/>
        <a:lstStyle/>
        <a:p>
          <a:endParaRPr lang="en-US"/>
        </a:p>
      </dgm:t>
    </dgm:pt>
    <dgm:pt modelId="{0860D079-FEA3-4289-AA01-C97B294B938A}" type="pres">
      <dgm:prSet presAssocID="{993FC7BA-3EF8-4D85-9A35-28780479CCC3}" presName="parTransOne" presStyleCnt="0"/>
      <dgm:spPr/>
    </dgm:pt>
    <dgm:pt modelId="{4B2B57D5-D191-4D70-A1B9-BB35984EB29D}" type="pres">
      <dgm:prSet presAssocID="{993FC7BA-3EF8-4D85-9A35-28780479CCC3}" presName="horzOne" presStyleCnt="0"/>
      <dgm:spPr/>
    </dgm:pt>
    <dgm:pt modelId="{515DD89F-0E54-44F6-B8C1-34251D982E92}" type="pres">
      <dgm:prSet presAssocID="{4A983AD3-BDA9-4ADD-AF18-EFD30A52F3F5}" presName="vertTwo" presStyleCnt="0"/>
      <dgm:spPr/>
    </dgm:pt>
    <dgm:pt modelId="{59C6FB34-8A3D-48D4-B46E-29F07A72B230}" type="pres">
      <dgm:prSet presAssocID="{4A983AD3-BDA9-4ADD-AF18-EFD30A52F3F5}" presName="txTwo" presStyleLbl="node2" presStyleIdx="0" presStyleCnt="2">
        <dgm:presLayoutVars>
          <dgm:chPref val="3"/>
        </dgm:presLayoutVars>
      </dgm:prSet>
      <dgm:spPr>
        <a:prstGeom prst="snip2DiagRect">
          <a:avLst/>
        </a:prstGeom>
      </dgm:spPr>
      <dgm:t>
        <a:bodyPr/>
        <a:lstStyle/>
        <a:p>
          <a:endParaRPr lang="en-US"/>
        </a:p>
      </dgm:t>
    </dgm:pt>
    <dgm:pt modelId="{47C15F66-A7C6-4B42-9587-3EF3B5E65B6B}" type="pres">
      <dgm:prSet presAssocID="{4A983AD3-BDA9-4ADD-AF18-EFD30A52F3F5}" presName="parTransTwo" presStyleCnt="0"/>
      <dgm:spPr/>
    </dgm:pt>
    <dgm:pt modelId="{2EE0789E-BFE7-4775-8C5F-F18DAD56FF74}" type="pres">
      <dgm:prSet presAssocID="{4A983AD3-BDA9-4ADD-AF18-EFD30A52F3F5}" presName="horzTwo" presStyleCnt="0"/>
      <dgm:spPr/>
    </dgm:pt>
    <dgm:pt modelId="{8B5917BD-8253-47B4-B762-671D6C226D30}" type="pres">
      <dgm:prSet presAssocID="{F6AF63F5-6088-4664-A924-32B85215A3A7}" presName="vertThree" presStyleCnt="0"/>
      <dgm:spPr/>
    </dgm:pt>
    <dgm:pt modelId="{E7074115-56B7-40B2-9960-DE3388B4A325}" type="pres">
      <dgm:prSet presAssocID="{F6AF63F5-6088-4664-A924-32B85215A3A7}" presName="txThree" presStyleLbl="node3" presStyleIdx="0" presStyleCnt="5" custLinFactY="-100000" custLinFactNeighborX="-60" custLinFactNeighborY="-110750">
        <dgm:presLayoutVars>
          <dgm:chPref val="3"/>
        </dgm:presLayoutVars>
      </dgm:prSet>
      <dgm:spPr>
        <a:prstGeom prst="snip2DiagRect">
          <a:avLst/>
        </a:prstGeom>
      </dgm:spPr>
      <dgm:t>
        <a:bodyPr/>
        <a:lstStyle/>
        <a:p>
          <a:endParaRPr lang="en-US"/>
        </a:p>
      </dgm:t>
    </dgm:pt>
    <dgm:pt modelId="{53D518AF-FF4A-441D-B1EA-D4663AA0ACA3}" type="pres">
      <dgm:prSet presAssocID="{F6AF63F5-6088-4664-A924-32B85215A3A7}" presName="horzThree" presStyleCnt="0"/>
      <dgm:spPr/>
    </dgm:pt>
    <dgm:pt modelId="{3BAF7B9D-5F0A-4FEB-907B-9CE98F1462DA}" type="pres">
      <dgm:prSet presAssocID="{25C471BF-527E-4D69-B7AB-789813C25DA3}" presName="sibSpaceThree" presStyleCnt="0"/>
      <dgm:spPr/>
    </dgm:pt>
    <dgm:pt modelId="{0D909AF5-4C7A-4EAF-8897-3B3BC8706DD9}" type="pres">
      <dgm:prSet presAssocID="{9AD848C6-5746-46D2-80B0-3A0C24DF0D53}" presName="vertThree" presStyleCnt="0"/>
      <dgm:spPr/>
    </dgm:pt>
    <dgm:pt modelId="{2B7461B0-491B-4F62-AFBC-F409951C4110}" type="pres">
      <dgm:prSet presAssocID="{9AD848C6-5746-46D2-80B0-3A0C24DF0D53}" presName="txThree" presStyleLbl="node3" presStyleIdx="1" presStyleCnt="5" custLinFactY="-100000" custLinFactNeighborX="-3200" custLinFactNeighborY="-112906">
        <dgm:presLayoutVars>
          <dgm:chPref val="3"/>
        </dgm:presLayoutVars>
      </dgm:prSet>
      <dgm:spPr>
        <a:prstGeom prst="snip2DiagRect">
          <a:avLst/>
        </a:prstGeom>
      </dgm:spPr>
      <dgm:t>
        <a:bodyPr/>
        <a:lstStyle/>
        <a:p>
          <a:endParaRPr lang="en-US"/>
        </a:p>
      </dgm:t>
    </dgm:pt>
    <dgm:pt modelId="{CA75C731-A971-4A62-9C43-6B1E9903A8CA}" type="pres">
      <dgm:prSet presAssocID="{9AD848C6-5746-46D2-80B0-3A0C24DF0D53}" presName="horzThree" presStyleCnt="0"/>
      <dgm:spPr/>
    </dgm:pt>
    <dgm:pt modelId="{EBBC0908-60BF-4F4D-8036-F3DB463BBB8C}" type="pres">
      <dgm:prSet presAssocID="{825C8F4D-A3A1-4AC1-9013-75BEA76F676A}" presName="sibSpaceThree" presStyleCnt="0"/>
      <dgm:spPr/>
    </dgm:pt>
    <dgm:pt modelId="{463698CC-6FA8-40A5-9852-75610CB38175}" type="pres">
      <dgm:prSet presAssocID="{AAB082A5-637C-4A1B-AE88-6C0108B98E5C}" presName="vertThree" presStyleCnt="0"/>
      <dgm:spPr/>
    </dgm:pt>
    <dgm:pt modelId="{6FB7495D-EBFD-41E2-9108-EBE3D60D3B55}" type="pres">
      <dgm:prSet presAssocID="{AAB082A5-637C-4A1B-AE88-6C0108B98E5C}" presName="txThree" presStyleLbl="node3" presStyleIdx="2" presStyleCnt="5" custLinFactY="-100000" custLinFactNeighborX="148" custLinFactNeighborY="-112906">
        <dgm:presLayoutVars>
          <dgm:chPref val="3"/>
        </dgm:presLayoutVars>
      </dgm:prSet>
      <dgm:spPr>
        <a:prstGeom prst="snip2DiagRect">
          <a:avLst/>
        </a:prstGeom>
      </dgm:spPr>
      <dgm:t>
        <a:bodyPr/>
        <a:lstStyle/>
        <a:p>
          <a:endParaRPr lang="en-US"/>
        </a:p>
      </dgm:t>
    </dgm:pt>
    <dgm:pt modelId="{FC8AE3E6-6A8E-4964-82D2-64F797633203}" type="pres">
      <dgm:prSet presAssocID="{AAB082A5-637C-4A1B-AE88-6C0108B98E5C}" presName="horzThree" presStyleCnt="0"/>
      <dgm:spPr/>
    </dgm:pt>
    <dgm:pt modelId="{72002F97-9309-43DE-9F57-F9E1B434D0CB}" type="pres">
      <dgm:prSet presAssocID="{3A98B173-A102-417C-AD70-3D3E7AD59788}" presName="sibSpaceTwo" presStyleCnt="0"/>
      <dgm:spPr/>
    </dgm:pt>
    <dgm:pt modelId="{A97F2350-035F-49D1-95D5-F42913F304DB}" type="pres">
      <dgm:prSet presAssocID="{CC79BC86-1F47-4143-889E-3A0D4E0D40A9}" presName="vertTwo" presStyleCnt="0"/>
      <dgm:spPr/>
    </dgm:pt>
    <dgm:pt modelId="{CD74DF32-A893-47FA-9C40-6DE8F2CD9C2D}" type="pres">
      <dgm:prSet presAssocID="{CC79BC86-1F47-4143-889E-3A0D4E0D40A9}" presName="txTwo" presStyleLbl="node2" presStyleIdx="1" presStyleCnt="2">
        <dgm:presLayoutVars>
          <dgm:chPref val="3"/>
        </dgm:presLayoutVars>
      </dgm:prSet>
      <dgm:spPr>
        <a:prstGeom prst="snip2DiagRect">
          <a:avLst/>
        </a:prstGeom>
      </dgm:spPr>
      <dgm:t>
        <a:bodyPr/>
        <a:lstStyle/>
        <a:p>
          <a:endParaRPr lang="en-US"/>
        </a:p>
      </dgm:t>
    </dgm:pt>
    <dgm:pt modelId="{CEDD29B0-2727-47D2-985D-9ED8D0A74253}" type="pres">
      <dgm:prSet presAssocID="{CC79BC86-1F47-4143-889E-3A0D4E0D40A9}" presName="parTransTwo" presStyleCnt="0"/>
      <dgm:spPr/>
    </dgm:pt>
    <dgm:pt modelId="{7A571956-CA79-410C-9643-3029AF4129C9}" type="pres">
      <dgm:prSet presAssocID="{CC79BC86-1F47-4143-889E-3A0D4E0D40A9}" presName="horzTwo" presStyleCnt="0"/>
      <dgm:spPr/>
    </dgm:pt>
    <dgm:pt modelId="{747CA4B6-E019-470A-9C2A-C24CD95606FD}" type="pres">
      <dgm:prSet presAssocID="{C98937EB-9E18-4ED7-8783-03CF63A74B6C}" presName="vertThree" presStyleCnt="0"/>
      <dgm:spPr/>
    </dgm:pt>
    <dgm:pt modelId="{D3D28688-CB58-4BAE-B212-D21B3E1BFD36}" type="pres">
      <dgm:prSet presAssocID="{C98937EB-9E18-4ED7-8783-03CF63A74B6C}" presName="txThree" presStyleLbl="node3" presStyleIdx="3" presStyleCnt="5" custLinFactY="-100000" custLinFactNeighborX="-690" custLinFactNeighborY="-110750">
        <dgm:presLayoutVars>
          <dgm:chPref val="3"/>
        </dgm:presLayoutVars>
      </dgm:prSet>
      <dgm:spPr>
        <a:prstGeom prst="snip2DiagRect">
          <a:avLst/>
        </a:prstGeom>
      </dgm:spPr>
      <dgm:t>
        <a:bodyPr/>
        <a:lstStyle/>
        <a:p>
          <a:endParaRPr lang="en-US"/>
        </a:p>
      </dgm:t>
    </dgm:pt>
    <dgm:pt modelId="{1041E42F-AD00-4D19-A1C4-0B76BF6D50ED}" type="pres">
      <dgm:prSet presAssocID="{C98937EB-9E18-4ED7-8783-03CF63A74B6C}" presName="horzThree" presStyleCnt="0"/>
      <dgm:spPr/>
    </dgm:pt>
    <dgm:pt modelId="{4175A602-A01D-43B4-B8CD-F2F069E672E2}" type="pres">
      <dgm:prSet presAssocID="{B5D28914-9E6A-47FC-81DC-3141A81765F9}" presName="sibSpaceThree" presStyleCnt="0"/>
      <dgm:spPr/>
    </dgm:pt>
    <dgm:pt modelId="{FAFE2949-6563-422D-B0AD-8C45458763A2}" type="pres">
      <dgm:prSet presAssocID="{F77FBB53-C1A1-4106-9CFE-50C421AD538E}" presName="vertThree" presStyleCnt="0"/>
      <dgm:spPr/>
    </dgm:pt>
    <dgm:pt modelId="{971208BE-D721-4510-BDEE-D808505DCA22}" type="pres">
      <dgm:prSet presAssocID="{F77FBB53-C1A1-4106-9CFE-50C421AD538E}" presName="txThree" presStyleLbl="node3" presStyleIdx="4" presStyleCnt="5" custLinFactY="-100000" custLinFactNeighborX="60" custLinFactNeighborY="-110750">
        <dgm:presLayoutVars>
          <dgm:chPref val="3"/>
        </dgm:presLayoutVars>
      </dgm:prSet>
      <dgm:spPr>
        <a:prstGeom prst="snip2DiagRect">
          <a:avLst/>
        </a:prstGeom>
      </dgm:spPr>
      <dgm:t>
        <a:bodyPr/>
        <a:lstStyle/>
        <a:p>
          <a:endParaRPr lang="en-US"/>
        </a:p>
      </dgm:t>
    </dgm:pt>
    <dgm:pt modelId="{74C95237-B90E-49B0-9144-0DB0F875F4A8}" type="pres">
      <dgm:prSet presAssocID="{F77FBB53-C1A1-4106-9CFE-50C421AD538E}" presName="horzThree" presStyleCnt="0"/>
      <dgm:spPr/>
    </dgm:pt>
  </dgm:ptLst>
  <dgm:cxnLst>
    <dgm:cxn modelId="{20E57B36-3720-4ECE-A287-105DA9B2293E}" srcId="{CC79BC86-1F47-4143-889E-3A0D4E0D40A9}" destId="{F77FBB53-C1A1-4106-9CFE-50C421AD538E}" srcOrd="1" destOrd="0" parTransId="{C7723D22-976D-4E64-81F4-2D050A15438E}" sibTransId="{21CDC591-5646-46CA-9D4C-EAA16397203A}"/>
    <dgm:cxn modelId="{03AAA5FA-3CA2-4CB8-B483-C2B938AEEE59}" type="presOf" srcId="{F77FBB53-C1A1-4106-9CFE-50C421AD538E}" destId="{971208BE-D721-4510-BDEE-D808505DCA22}" srcOrd="0" destOrd="0" presId="urn:microsoft.com/office/officeart/2005/8/layout/hierarchy4"/>
    <dgm:cxn modelId="{ACB14255-0DFF-4A0E-B906-4C0CE8F6BC38}" srcId="{4A983AD3-BDA9-4ADD-AF18-EFD30A52F3F5}" destId="{F6AF63F5-6088-4664-A924-32B85215A3A7}" srcOrd="0" destOrd="0" parTransId="{AF83DC60-5E14-4D65-8CB3-F7A544A5655A}" sibTransId="{25C471BF-527E-4D69-B7AB-789813C25DA3}"/>
    <dgm:cxn modelId="{2C2E4AF7-DC5D-4504-B689-E2D686F288F3}" type="presOf" srcId="{F6AF63F5-6088-4664-A924-32B85215A3A7}" destId="{E7074115-56B7-40B2-9960-DE3388B4A325}" srcOrd="0" destOrd="0" presId="urn:microsoft.com/office/officeart/2005/8/layout/hierarchy4"/>
    <dgm:cxn modelId="{545E4DD5-8920-4AE8-9BAA-EC7C3F8D47AA}" srcId="{993FC7BA-3EF8-4D85-9A35-28780479CCC3}" destId="{4A983AD3-BDA9-4ADD-AF18-EFD30A52F3F5}" srcOrd="0" destOrd="0" parTransId="{78A31C0B-A713-46FB-910A-4AC96CB0BCCC}" sibTransId="{3A98B173-A102-417C-AD70-3D3E7AD59788}"/>
    <dgm:cxn modelId="{55A4ED60-D1C2-41E4-87DF-A1392AD69467}" srcId="{BFD99918-3649-47A3-A01F-4F1F8FDC4F5B}" destId="{993FC7BA-3EF8-4D85-9A35-28780479CCC3}" srcOrd="0" destOrd="0" parTransId="{4B52F91D-2BFF-4A51-B1EB-2EDCF56B7DA8}" sibTransId="{BC1BB561-CB83-41A5-B710-3528ED326957}"/>
    <dgm:cxn modelId="{A11108E5-83AA-4080-9C5D-7DE16F0D167F}" type="presOf" srcId="{4A983AD3-BDA9-4ADD-AF18-EFD30A52F3F5}" destId="{59C6FB34-8A3D-48D4-B46E-29F07A72B230}" srcOrd="0" destOrd="0" presId="urn:microsoft.com/office/officeart/2005/8/layout/hierarchy4"/>
    <dgm:cxn modelId="{90EBBDED-DC09-4BEF-999A-84EEA8F19741}" type="presOf" srcId="{9AD848C6-5746-46D2-80B0-3A0C24DF0D53}" destId="{2B7461B0-491B-4F62-AFBC-F409951C4110}" srcOrd="0" destOrd="0" presId="urn:microsoft.com/office/officeart/2005/8/layout/hierarchy4"/>
    <dgm:cxn modelId="{CB394371-2434-4D70-9885-03581B7F6506}" srcId="{4A983AD3-BDA9-4ADD-AF18-EFD30A52F3F5}" destId="{AAB082A5-637C-4A1B-AE88-6C0108B98E5C}" srcOrd="2" destOrd="0" parTransId="{BBAD3D64-2F29-4675-B2B7-B9F1DE9FB4B3}" sibTransId="{A72CE0BE-DCDB-4A01-AA52-5D88724A293D}"/>
    <dgm:cxn modelId="{4F45BB47-F20E-43AF-AC2A-5A1242BD5E3D}" type="presOf" srcId="{CC79BC86-1F47-4143-889E-3A0D4E0D40A9}" destId="{CD74DF32-A893-47FA-9C40-6DE8F2CD9C2D}" srcOrd="0" destOrd="0" presId="urn:microsoft.com/office/officeart/2005/8/layout/hierarchy4"/>
    <dgm:cxn modelId="{60B81B12-9753-4DD1-83D7-8E13F4FEE846}" type="presOf" srcId="{993FC7BA-3EF8-4D85-9A35-28780479CCC3}" destId="{2174BD5A-8601-4384-9D3B-0B1F57CC9E20}" srcOrd="0" destOrd="0" presId="urn:microsoft.com/office/officeart/2005/8/layout/hierarchy4"/>
    <dgm:cxn modelId="{618A04EE-3680-4BB4-B6C2-E6D6C7A05DC6}" srcId="{CC79BC86-1F47-4143-889E-3A0D4E0D40A9}" destId="{C98937EB-9E18-4ED7-8783-03CF63A74B6C}" srcOrd="0" destOrd="0" parTransId="{5A5203C7-D5A9-4D87-A40B-AD495A45E960}" sibTransId="{B5D28914-9E6A-47FC-81DC-3141A81765F9}"/>
    <dgm:cxn modelId="{26C4F3A8-F1A8-4C4D-8009-E344B89CB28F}" type="presOf" srcId="{C98937EB-9E18-4ED7-8783-03CF63A74B6C}" destId="{D3D28688-CB58-4BAE-B212-D21B3E1BFD36}" srcOrd="0" destOrd="0" presId="urn:microsoft.com/office/officeart/2005/8/layout/hierarchy4"/>
    <dgm:cxn modelId="{4EBDC1EA-D5AD-4D1F-8540-6ACB21403E54}" type="presOf" srcId="{AAB082A5-637C-4A1B-AE88-6C0108B98E5C}" destId="{6FB7495D-EBFD-41E2-9108-EBE3D60D3B55}" srcOrd="0" destOrd="0" presId="urn:microsoft.com/office/officeart/2005/8/layout/hierarchy4"/>
    <dgm:cxn modelId="{3B066DAC-A5B2-4849-913B-0E0C78786B50}" srcId="{4A983AD3-BDA9-4ADD-AF18-EFD30A52F3F5}" destId="{9AD848C6-5746-46D2-80B0-3A0C24DF0D53}" srcOrd="1" destOrd="0" parTransId="{3AFC25E9-8ADE-43AE-A080-F5B2435409FA}" sibTransId="{825C8F4D-A3A1-4AC1-9013-75BEA76F676A}"/>
    <dgm:cxn modelId="{EA3382CB-BF49-445C-9EC4-8FE6E80D443A}" srcId="{993FC7BA-3EF8-4D85-9A35-28780479CCC3}" destId="{CC79BC86-1F47-4143-889E-3A0D4E0D40A9}" srcOrd="1" destOrd="0" parTransId="{B1B5B354-42EB-432F-8D74-0772E173F8FC}" sibTransId="{8F2EB614-7150-44F9-9D21-F893C8573B51}"/>
    <dgm:cxn modelId="{782142FA-9BFD-4C21-A1CC-4D9760D673FB}" type="presOf" srcId="{BFD99918-3649-47A3-A01F-4F1F8FDC4F5B}" destId="{2ED3F499-1908-4D26-A52E-5D7B87774094}" srcOrd="0" destOrd="0" presId="urn:microsoft.com/office/officeart/2005/8/layout/hierarchy4"/>
    <dgm:cxn modelId="{A4840957-BEA3-4DBA-9A7B-CBD4999F812D}" type="presParOf" srcId="{2ED3F499-1908-4D26-A52E-5D7B87774094}" destId="{61C8E5FA-3CC0-4EBF-B5C3-503F5F60BF80}" srcOrd="0" destOrd="0" presId="urn:microsoft.com/office/officeart/2005/8/layout/hierarchy4"/>
    <dgm:cxn modelId="{8AAC083A-530F-4C0E-9DF8-CBD3D51F4621}" type="presParOf" srcId="{61C8E5FA-3CC0-4EBF-B5C3-503F5F60BF80}" destId="{2174BD5A-8601-4384-9D3B-0B1F57CC9E20}" srcOrd="0" destOrd="0" presId="urn:microsoft.com/office/officeart/2005/8/layout/hierarchy4"/>
    <dgm:cxn modelId="{97C9E890-F509-4A2D-B652-82DCEAFDEB54}" type="presParOf" srcId="{61C8E5FA-3CC0-4EBF-B5C3-503F5F60BF80}" destId="{0860D079-FEA3-4289-AA01-C97B294B938A}" srcOrd="1" destOrd="0" presId="urn:microsoft.com/office/officeart/2005/8/layout/hierarchy4"/>
    <dgm:cxn modelId="{60306016-5FFE-42EF-9A26-BE2B9648541F}" type="presParOf" srcId="{61C8E5FA-3CC0-4EBF-B5C3-503F5F60BF80}" destId="{4B2B57D5-D191-4D70-A1B9-BB35984EB29D}" srcOrd="2" destOrd="0" presId="urn:microsoft.com/office/officeart/2005/8/layout/hierarchy4"/>
    <dgm:cxn modelId="{986882BA-7D6A-48E5-867C-009A8F38F28F}" type="presParOf" srcId="{4B2B57D5-D191-4D70-A1B9-BB35984EB29D}" destId="{515DD89F-0E54-44F6-B8C1-34251D982E92}" srcOrd="0" destOrd="0" presId="urn:microsoft.com/office/officeart/2005/8/layout/hierarchy4"/>
    <dgm:cxn modelId="{AF79C8B7-0853-42B2-A0DF-AA1C380ABEE5}" type="presParOf" srcId="{515DD89F-0E54-44F6-B8C1-34251D982E92}" destId="{59C6FB34-8A3D-48D4-B46E-29F07A72B230}" srcOrd="0" destOrd="0" presId="urn:microsoft.com/office/officeart/2005/8/layout/hierarchy4"/>
    <dgm:cxn modelId="{E72B276A-F4D0-4E17-8610-46CB7CFDA525}" type="presParOf" srcId="{515DD89F-0E54-44F6-B8C1-34251D982E92}" destId="{47C15F66-A7C6-4B42-9587-3EF3B5E65B6B}" srcOrd="1" destOrd="0" presId="urn:microsoft.com/office/officeart/2005/8/layout/hierarchy4"/>
    <dgm:cxn modelId="{E16DA88D-34DA-4C8A-BF1B-5C8553EAFB09}" type="presParOf" srcId="{515DD89F-0E54-44F6-B8C1-34251D982E92}" destId="{2EE0789E-BFE7-4775-8C5F-F18DAD56FF74}" srcOrd="2" destOrd="0" presId="urn:microsoft.com/office/officeart/2005/8/layout/hierarchy4"/>
    <dgm:cxn modelId="{5C4B53C5-578E-4A5C-BCFF-4BA0FB9242C5}" type="presParOf" srcId="{2EE0789E-BFE7-4775-8C5F-F18DAD56FF74}" destId="{8B5917BD-8253-47B4-B762-671D6C226D30}" srcOrd="0" destOrd="0" presId="urn:microsoft.com/office/officeart/2005/8/layout/hierarchy4"/>
    <dgm:cxn modelId="{412E7EFB-DC42-4935-84C2-5224FC117546}" type="presParOf" srcId="{8B5917BD-8253-47B4-B762-671D6C226D30}" destId="{E7074115-56B7-40B2-9960-DE3388B4A325}" srcOrd="0" destOrd="0" presId="urn:microsoft.com/office/officeart/2005/8/layout/hierarchy4"/>
    <dgm:cxn modelId="{4D002C16-DAAA-415C-B886-105520A04E1E}" type="presParOf" srcId="{8B5917BD-8253-47B4-B762-671D6C226D30}" destId="{53D518AF-FF4A-441D-B1EA-D4663AA0ACA3}" srcOrd="1" destOrd="0" presId="urn:microsoft.com/office/officeart/2005/8/layout/hierarchy4"/>
    <dgm:cxn modelId="{764E5663-883F-4586-A68B-E3244F6685AB}" type="presParOf" srcId="{2EE0789E-BFE7-4775-8C5F-F18DAD56FF74}" destId="{3BAF7B9D-5F0A-4FEB-907B-9CE98F1462DA}" srcOrd="1" destOrd="0" presId="urn:microsoft.com/office/officeart/2005/8/layout/hierarchy4"/>
    <dgm:cxn modelId="{A9882AF1-C997-4E54-8EB0-089558814FF5}" type="presParOf" srcId="{2EE0789E-BFE7-4775-8C5F-F18DAD56FF74}" destId="{0D909AF5-4C7A-4EAF-8897-3B3BC8706DD9}" srcOrd="2" destOrd="0" presId="urn:microsoft.com/office/officeart/2005/8/layout/hierarchy4"/>
    <dgm:cxn modelId="{99C42168-A545-4855-8F82-9C0E82CA944C}" type="presParOf" srcId="{0D909AF5-4C7A-4EAF-8897-3B3BC8706DD9}" destId="{2B7461B0-491B-4F62-AFBC-F409951C4110}" srcOrd="0" destOrd="0" presId="urn:microsoft.com/office/officeart/2005/8/layout/hierarchy4"/>
    <dgm:cxn modelId="{0E598692-9D40-4A9C-91C7-6FBE2D5AEABD}" type="presParOf" srcId="{0D909AF5-4C7A-4EAF-8897-3B3BC8706DD9}" destId="{CA75C731-A971-4A62-9C43-6B1E9903A8CA}" srcOrd="1" destOrd="0" presId="urn:microsoft.com/office/officeart/2005/8/layout/hierarchy4"/>
    <dgm:cxn modelId="{34E1F714-B855-47C9-8AE3-7FA51E584B8D}" type="presParOf" srcId="{2EE0789E-BFE7-4775-8C5F-F18DAD56FF74}" destId="{EBBC0908-60BF-4F4D-8036-F3DB463BBB8C}" srcOrd="3" destOrd="0" presId="urn:microsoft.com/office/officeart/2005/8/layout/hierarchy4"/>
    <dgm:cxn modelId="{AD7327D4-BEDD-4AB7-A8B7-3A21E96171A6}" type="presParOf" srcId="{2EE0789E-BFE7-4775-8C5F-F18DAD56FF74}" destId="{463698CC-6FA8-40A5-9852-75610CB38175}" srcOrd="4" destOrd="0" presId="urn:microsoft.com/office/officeart/2005/8/layout/hierarchy4"/>
    <dgm:cxn modelId="{056D5891-040D-4516-9609-E4BFC2DA04B7}" type="presParOf" srcId="{463698CC-6FA8-40A5-9852-75610CB38175}" destId="{6FB7495D-EBFD-41E2-9108-EBE3D60D3B55}" srcOrd="0" destOrd="0" presId="urn:microsoft.com/office/officeart/2005/8/layout/hierarchy4"/>
    <dgm:cxn modelId="{1C92A75C-085F-42F5-8CCC-84E3D96BB79C}" type="presParOf" srcId="{463698CC-6FA8-40A5-9852-75610CB38175}" destId="{FC8AE3E6-6A8E-4964-82D2-64F797633203}" srcOrd="1" destOrd="0" presId="urn:microsoft.com/office/officeart/2005/8/layout/hierarchy4"/>
    <dgm:cxn modelId="{C060B644-2B36-4CAC-B040-20A265C1C063}" type="presParOf" srcId="{4B2B57D5-D191-4D70-A1B9-BB35984EB29D}" destId="{72002F97-9309-43DE-9F57-F9E1B434D0CB}" srcOrd="1" destOrd="0" presId="urn:microsoft.com/office/officeart/2005/8/layout/hierarchy4"/>
    <dgm:cxn modelId="{537A8266-1F2E-481C-AE63-1354D70C7F60}" type="presParOf" srcId="{4B2B57D5-D191-4D70-A1B9-BB35984EB29D}" destId="{A97F2350-035F-49D1-95D5-F42913F304DB}" srcOrd="2" destOrd="0" presId="urn:microsoft.com/office/officeart/2005/8/layout/hierarchy4"/>
    <dgm:cxn modelId="{2B4F40B7-3AD4-4CC0-AF47-C0EC6B56707D}" type="presParOf" srcId="{A97F2350-035F-49D1-95D5-F42913F304DB}" destId="{CD74DF32-A893-47FA-9C40-6DE8F2CD9C2D}" srcOrd="0" destOrd="0" presId="urn:microsoft.com/office/officeart/2005/8/layout/hierarchy4"/>
    <dgm:cxn modelId="{86FC61C1-3055-41A1-A1DC-9A10D54AD217}" type="presParOf" srcId="{A97F2350-035F-49D1-95D5-F42913F304DB}" destId="{CEDD29B0-2727-47D2-985D-9ED8D0A74253}" srcOrd="1" destOrd="0" presId="urn:microsoft.com/office/officeart/2005/8/layout/hierarchy4"/>
    <dgm:cxn modelId="{5D6A9D03-BBBC-46EE-A3AE-7AA3D22E9F0C}" type="presParOf" srcId="{A97F2350-035F-49D1-95D5-F42913F304DB}" destId="{7A571956-CA79-410C-9643-3029AF4129C9}" srcOrd="2" destOrd="0" presId="urn:microsoft.com/office/officeart/2005/8/layout/hierarchy4"/>
    <dgm:cxn modelId="{21BEFED3-E4A4-4EE4-9F99-6861E50034CF}" type="presParOf" srcId="{7A571956-CA79-410C-9643-3029AF4129C9}" destId="{747CA4B6-E019-470A-9C2A-C24CD95606FD}" srcOrd="0" destOrd="0" presId="urn:microsoft.com/office/officeart/2005/8/layout/hierarchy4"/>
    <dgm:cxn modelId="{8CA63A3F-C92F-42BC-9813-B28A9487B65C}" type="presParOf" srcId="{747CA4B6-E019-470A-9C2A-C24CD95606FD}" destId="{D3D28688-CB58-4BAE-B212-D21B3E1BFD36}" srcOrd="0" destOrd="0" presId="urn:microsoft.com/office/officeart/2005/8/layout/hierarchy4"/>
    <dgm:cxn modelId="{032B3C48-C515-4BFD-A09C-1DABD377322B}" type="presParOf" srcId="{747CA4B6-E019-470A-9C2A-C24CD95606FD}" destId="{1041E42F-AD00-4D19-A1C4-0B76BF6D50ED}" srcOrd="1" destOrd="0" presId="urn:microsoft.com/office/officeart/2005/8/layout/hierarchy4"/>
    <dgm:cxn modelId="{40A22BA6-D9B3-47A8-BBA1-CB4C8D0614B5}" type="presParOf" srcId="{7A571956-CA79-410C-9643-3029AF4129C9}" destId="{4175A602-A01D-43B4-B8CD-F2F069E672E2}" srcOrd="1" destOrd="0" presId="urn:microsoft.com/office/officeart/2005/8/layout/hierarchy4"/>
    <dgm:cxn modelId="{8D7C6BA0-C9F0-484A-8D12-975AD390544F}" type="presParOf" srcId="{7A571956-CA79-410C-9643-3029AF4129C9}" destId="{FAFE2949-6563-422D-B0AD-8C45458763A2}" srcOrd="2" destOrd="0" presId="urn:microsoft.com/office/officeart/2005/8/layout/hierarchy4"/>
    <dgm:cxn modelId="{DABB6691-F7EC-4854-841C-85E6054A5E1F}" type="presParOf" srcId="{FAFE2949-6563-422D-B0AD-8C45458763A2}" destId="{971208BE-D721-4510-BDEE-D808505DCA22}" srcOrd="0" destOrd="0" presId="urn:microsoft.com/office/officeart/2005/8/layout/hierarchy4"/>
    <dgm:cxn modelId="{6F933193-3BC4-488C-8A0C-3E36A6C05BBB}" type="presParOf" srcId="{FAFE2949-6563-422D-B0AD-8C45458763A2}" destId="{74C95237-B90E-49B0-9144-0DB0F875F4A8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6F5E0F-EF9D-4061-A4C0-BDBB155FDE99}">
      <dsp:nvSpPr>
        <dsp:cNvPr id="0" name=""/>
        <dsp:cNvSpPr/>
      </dsp:nvSpPr>
      <dsp:spPr>
        <a:xfrm>
          <a:off x="751309" y="0"/>
          <a:ext cx="8514837" cy="4435522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4E30E8-6223-4BB9-996D-17F0C2C77CA7}">
      <dsp:nvSpPr>
        <dsp:cNvPr id="0" name=""/>
        <dsp:cNvSpPr/>
      </dsp:nvSpPr>
      <dsp:spPr>
        <a:xfrm>
          <a:off x="122" y="1330656"/>
          <a:ext cx="1465933" cy="17742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latin typeface="Arial" panose="020B0604020202020204" pitchFamily="34" charset="0"/>
              <a:cs typeface="Arial" panose="020B0604020202020204" pitchFamily="34" charset="0"/>
            </a:rPr>
            <a:t>Due Diligence</a:t>
          </a:r>
          <a:endParaRPr lang="en-IN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1683" y="1402217"/>
        <a:ext cx="1322811" cy="1631086"/>
      </dsp:txXfrm>
    </dsp:sp>
    <dsp:sp modelId="{F3C6379F-8E69-4166-BFC1-2DEB5464F47A}">
      <dsp:nvSpPr>
        <dsp:cNvPr id="0" name=""/>
        <dsp:cNvSpPr/>
      </dsp:nvSpPr>
      <dsp:spPr>
        <a:xfrm>
          <a:off x="1710377" y="1330656"/>
          <a:ext cx="1465933" cy="17742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latin typeface="Arial" panose="020B0604020202020204" pitchFamily="34" charset="0"/>
              <a:cs typeface="Arial" panose="020B0604020202020204" pitchFamily="34" charset="0"/>
            </a:rPr>
            <a:t>Partner Evaluation Checklist</a:t>
          </a:r>
          <a:endParaRPr lang="en-IN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81938" y="1402217"/>
        <a:ext cx="1322811" cy="1631086"/>
      </dsp:txXfrm>
    </dsp:sp>
    <dsp:sp modelId="{849D8E10-6C36-4E9F-B2BA-048D66C74934}">
      <dsp:nvSpPr>
        <dsp:cNvPr id="0" name=""/>
        <dsp:cNvSpPr/>
      </dsp:nvSpPr>
      <dsp:spPr>
        <a:xfrm>
          <a:off x="3420633" y="1330656"/>
          <a:ext cx="1465933" cy="17742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latin typeface="Arial" panose="020B0604020202020204" pitchFamily="34" charset="0"/>
              <a:cs typeface="Arial" panose="020B0604020202020204" pitchFamily="34" charset="0"/>
            </a:rPr>
            <a:t>Agreements Signoff</a:t>
          </a:r>
          <a:endParaRPr lang="en-IN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492194" y="1402217"/>
        <a:ext cx="1322811" cy="1631086"/>
      </dsp:txXfrm>
    </dsp:sp>
    <dsp:sp modelId="{68001A9F-5766-41D7-B07B-27F6BDCB5CE7}">
      <dsp:nvSpPr>
        <dsp:cNvPr id="0" name=""/>
        <dsp:cNvSpPr/>
      </dsp:nvSpPr>
      <dsp:spPr>
        <a:xfrm>
          <a:off x="5130889" y="1330656"/>
          <a:ext cx="1465933" cy="17742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latin typeface="Arial" panose="020B0604020202020204" pitchFamily="34" charset="0"/>
              <a:cs typeface="Arial" panose="020B0604020202020204" pitchFamily="34" charset="0"/>
            </a:rPr>
            <a:t>Infrastructure Set up</a:t>
          </a:r>
          <a:endParaRPr lang="en-IN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202450" y="1402217"/>
        <a:ext cx="1322811" cy="1631086"/>
      </dsp:txXfrm>
    </dsp:sp>
    <dsp:sp modelId="{6756D13A-B988-4C90-9036-7C9CB4559FDE}">
      <dsp:nvSpPr>
        <dsp:cNvPr id="0" name=""/>
        <dsp:cNvSpPr/>
      </dsp:nvSpPr>
      <dsp:spPr>
        <a:xfrm>
          <a:off x="6841144" y="1330656"/>
          <a:ext cx="1465933" cy="17742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latin typeface="Arial" panose="020B0604020202020204" pitchFamily="34" charset="0"/>
              <a:cs typeface="Arial" panose="020B0604020202020204" pitchFamily="34" charset="0"/>
            </a:rPr>
            <a:t>Training Of Trainers</a:t>
          </a:r>
          <a:endParaRPr lang="en-IN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912705" y="1402217"/>
        <a:ext cx="1322811" cy="1631086"/>
      </dsp:txXfrm>
    </dsp:sp>
    <dsp:sp modelId="{8A982BBB-05FE-44EA-A287-F7E4A83A4914}">
      <dsp:nvSpPr>
        <dsp:cNvPr id="0" name=""/>
        <dsp:cNvSpPr/>
      </dsp:nvSpPr>
      <dsp:spPr>
        <a:xfrm>
          <a:off x="8551400" y="1330656"/>
          <a:ext cx="1465933" cy="17742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latin typeface="Arial" panose="020B0604020202020204" pitchFamily="34" charset="0"/>
              <a:cs typeface="Arial" panose="020B0604020202020204" pitchFamily="34" charset="0"/>
            </a:rPr>
            <a:t>GVTS </a:t>
          </a: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Inauguration</a:t>
          </a:r>
          <a:endParaRPr lang="en-IN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622961" y="1402217"/>
        <a:ext cx="1322811" cy="16310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FFD4C5-AA4D-4A99-B3D1-D61240B00A5C}">
      <dsp:nvSpPr>
        <dsp:cNvPr id="0" name=""/>
        <dsp:cNvSpPr/>
      </dsp:nvSpPr>
      <dsp:spPr>
        <a:xfrm>
          <a:off x="6927804" y="3714174"/>
          <a:ext cx="91440" cy="43402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40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45F5B2-F066-4A5A-AFF9-1533C960A810}">
      <dsp:nvSpPr>
        <dsp:cNvPr id="0" name=""/>
        <dsp:cNvSpPr/>
      </dsp:nvSpPr>
      <dsp:spPr>
        <a:xfrm>
          <a:off x="6927804" y="2332518"/>
          <a:ext cx="91440" cy="43402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40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D48BDC-DC12-4CF6-AA31-4B778C6AC6D6}">
      <dsp:nvSpPr>
        <dsp:cNvPr id="0" name=""/>
        <dsp:cNvSpPr/>
      </dsp:nvSpPr>
      <dsp:spPr>
        <a:xfrm>
          <a:off x="4237572" y="950863"/>
          <a:ext cx="2735952" cy="434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5773"/>
              </a:lnTo>
              <a:lnTo>
                <a:pt x="2735952" y="295773"/>
              </a:lnTo>
              <a:lnTo>
                <a:pt x="2735952" y="43402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4026E4-6807-43FE-9216-EA93E62F091F}">
      <dsp:nvSpPr>
        <dsp:cNvPr id="0" name=""/>
        <dsp:cNvSpPr/>
      </dsp:nvSpPr>
      <dsp:spPr>
        <a:xfrm>
          <a:off x="5103836" y="3714174"/>
          <a:ext cx="91440" cy="43402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40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03F300-A780-4341-A37C-9D8EA77954E9}">
      <dsp:nvSpPr>
        <dsp:cNvPr id="0" name=""/>
        <dsp:cNvSpPr/>
      </dsp:nvSpPr>
      <dsp:spPr>
        <a:xfrm>
          <a:off x="5103836" y="2332518"/>
          <a:ext cx="91440" cy="43402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40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F72487-AA79-43FB-80EE-B4D6FB158D60}">
      <dsp:nvSpPr>
        <dsp:cNvPr id="0" name=""/>
        <dsp:cNvSpPr/>
      </dsp:nvSpPr>
      <dsp:spPr>
        <a:xfrm>
          <a:off x="4237572" y="950863"/>
          <a:ext cx="911984" cy="434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5773"/>
              </a:lnTo>
              <a:lnTo>
                <a:pt x="911984" y="295773"/>
              </a:lnTo>
              <a:lnTo>
                <a:pt x="911984" y="43402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EF048B-D263-4E13-ADDA-3C495BC93465}">
      <dsp:nvSpPr>
        <dsp:cNvPr id="0" name=""/>
        <dsp:cNvSpPr/>
      </dsp:nvSpPr>
      <dsp:spPr>
        <a:xfrm>
          <a:off x="3279868" y="3714174"/>
          <a:ext cx="91440" cy="43402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40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203DC9-1B47-4B50-BCD3-0744255F9CBE}">
      <dsp:nvSpPr>
        <dsp:cNvPr id="0" name=""/>
        <dsp:cNvSpPr/>
      </dsp:nvSpPr>
      <dsp:spPr>
        <a:xfrm>
          <a:off x="3279868" y="2332518"/>
          <a:ext cx="91440" cy="43402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40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0A5BF2-61DA-4102-8B24-7C786B5E23D4}">
      <dsp:nvSpPr>
        <dsp:cNvPr id="0" name=""/>
        <dsp:cNvSpPr/>
      </dsp:nvSpPr>
      <dsp:spPr>
        <a:xfrm>
          <a:off x="3325588" y="950863"/>
          <a:ext cx="911984" cy="434021"/>
        </a:xfrm>
        <a:custGeom>
          <a:avLst/>
          <a:gdLst/>
          <a:ahLst/>
          <a:cxnLst/>
          <a:rect l="0" t="0" r="0" b="0"/>
          <a:pathLst>
            <a:path>
              <a:moveTo>
                <a:pt x="911984" y="0"/>
              </a:moveTo>
              <a:lnTo>
                <a:pt x="911984" y="295773"/>
              </a:lnTo>
              <a:lnTo>
                <a:pt x="0" y="295773"/>
              </a:lnTo>
              <a:lnTo>
                <a:pt x="0" y="43402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3A8167-0924-4B4A-A0D4-0BA9E2DC28C6}">
      <dsp:nvSpPr>
        <dsp:cNvPr id="0" name=""/>
        <dsp:cNvSpPr/>
      </dsp:nvSpPr>
      <dsp:spPr>
        <a:xfrm>
          <a:off x="1455899" y="3714174"/>
          <a:ext cx="91440" cy="43402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40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C94A6B-487F-4923-BDA7-5EE5F766BD04}">
      <dsp:nvSpPr>
        <dsp:cNvPr id="0" name=""/>
        <dsp:cNvSpPr/>
      </dsp:nvSpPr>
      <dsp:spPr>
        <a:xfrm>
          <a:off x="1455899" y="2332518"/>
          <a:ext cx="91440" cy="43402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40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7ACD26-13C9-46BC-87AB-632AF09FCA0B}">
      <dsp:nvSpPr>
        <dsp:cNvPr id="0" name=""/>
        <dsp:cNvSpPr/>
      </dsp:nvSpPr>
      <dsp:spPr>
        <a:xfrm>
          <a:off x="1501619" y="950863"/>
          <a:ext cx="2735952" cy="434021"/>
        </a:xfrm>
        <a:custGeom>
          <a:avLst/>
          <a:gdLst/>
          <a:ahLst/>
          <a:cxnLst/>
          <a:rect l="0" t="0" r="0" b="0"/>
          <a:pathLst>
            <a:path>
              <a:moveTo>
                <a:pt x="2735952" y="0"/>
              </a:moveTo>
              <a:lnTo>
                <a:pt x="2735952" y="295773"/>
              </a:lnTo>
              <a:lnTo>
                <a:pt x="0" y="295773"/>
              </a:lnTo>
              <a:lnTo>
                <a:pt x="0" y="43402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A90D551-E1CB-484D-AF55-0A16ACB27396}">
      <dsp:nvSpPr>
        <dsp:cNvPr id="0" name=""/>
        <dsp:cNvSpPr/>
      </dsp:nvSpPr>
      <dsp:spPr>
        <a:xfrm>
          <a:off x="3491403" y="3228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8A527D-9C04-48A6-A67E-A177F47E6789}">
      <dsp:nvSpPr>
        <dsp:cNvPr id="0" name=""/>
        <dsp:cNvSpPr/>
      </dsp:nvSpPr>
      <dsp:spPr>
        <a:xfrm>
          <a:off x="3657218" y="160753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GVTS</a:t>
          </a:r>
          <a:endParaRPr lang="en-IN" sz="1800" kern="1200" dirty="0"/>
        </a:p>
      </dsp:txBody>
      <dsp:txXfrm>
        <a:off x="3684973" y="188508"/>
        <a:ext cx="1436827" cy="892124"/>
      </dsp:txXfrm>
    </dsp:sp>
    <dsp:sp modelId="{C5DA8261-B4A0-4403-9873-3CB4B057BED3}">
      <dsp:nvSpPr>
        <dsp:cNvPr id="0" name=""/>
        <dsp:cNvSpPr/>
      </dsp:nvSpPr>
      <dsp:spPr>
        <a:xfrm>
          <a:off x="755451" y="1384884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8B1810-2B8B-494E-B0E6-649058124AA9}">
      <dsp:nvSpPr>
        <dsp:cNvPr id="0" name=""/>
        <dsp:cNvSpPr/>
      </dsp:nvSpPr>
      <dsp:spPr>
        <a:xfrm>
          <a:off x="921266" y="1542409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NGO’s</a:t>
          </a:r>
          <a:endParaRPr lang="en-IN" sz="1800" kern="1200" dirty="0"/>
        </a:p>
      </dsp:txBody>
      <dsp:txXfrm>
        <a:off x="949021" y="1570164"/>
        <a:ext cx="1436827" cy="892124"/>
      </dsp:txXfrm>
    </dsp:sp>
    <dsp:sp modelId="{57CB5379-038D-4B92-A267-A14E72BF120E}">
      <dsp:nvSpPr>
        <dsp:cNvPr id="0" name=""/>
        <dsp:cNvSpPr/>
      </dsp:nvSpPr>
      <dsp:spPr>
        <a:xfrm>
          <a:off x="755451" y="2766540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0E40EF-7560-4B26-A081-77BD01EECFB7}">
      <dsp:nvSpPr>
        <dsp:cNvPr id="0" name=""/>
        <dsp:cNvSpPr/>
      </dsp:nvSpPr>
      <dsp:spPr>
        <a:xfrm>
          <a:off x="921266" y="2924065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Art of Living (SSRDP)</a:t>
          </a:r>
          <a:endParaRPr lang="en-IN" sz="1800" kern="1200" dirty="0"/>
        </a:p>
      </dsp:txBody>
      <dsp:txXfrm>
        <a:off x="949021" y="2951820"/>
        <a:ext cx="1436827" cy="892124"/>
      </dsp:txXfrm>
    </dsp:sp>
    <dsp:sp modelId="{41B26BAB-2E4B-4DB4-AEB6-D1125D69BD95}">
      <dsp:nvSpPr>
        <dsp:cNvPr id="0" name=""/>
        <dsp:cNvSpPr/>
      </dsp:nvSpPr>
      <dsp:spPr>
        <a:xfrm>
          <a:off x="755451" y="4148196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2520C7-42B9-45DE-A8DA-EF2D3EF7750A}">
      <dsp:nvSpPr>
        <dsp:cNvPr id="0" name=""/>
        <dsp:cNvSpPr/>
      </dsp:nvSpPr>
      <dsp:spPr>
        <a:xfrm>
          <a:off x="921266" y="4305720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B-Able</a:t>
          </a:r>
          <a:endParaRPr lang="en-IN" sz="1800" kern="1200" dirty="0"/>
        </a:p>
      </dsp:txBody>
      <dsp:txXfrm>
        <a:off x="949021" y="4333475"/>
        <a:ext cx="1436827" cy="892124"/>
      </dsp:txXfrm>
    </dsp:sp>
    <dsp:sp modelId="{4D69290B-C585-4E66-966C-2B91DE4DE01C}">
      <dsp:nvSpPr>
        <dsp:cNvPr id="0" name=""/>
        <dsp:cNvSpPr/>
      </dsp:nvSpPr>
      <dsp:spPr>
        <a:xfrm>
          <a:off x="2579419" y="1384884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106E57-93D3-41F5-A041-8D2FC8C19AFA}">
      <dsp:nvSpPr>
        <dsp:cNvPr id="0" name=""/>
        <dsp:cNvSpPr/>
      </dsp:nvSpPr>
      <dsp:spPr>
        <a:xfrm>
          <a:off x="2745234" y="1542409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Training Institute</a:t>
          </a:r>
          <a:endParaRPr lang="en-IN" sz="1800" kern="1200" dirty="0"/>
        </a:p>
      </dsp:txBody>
      <dsp:txXfrm>
        <a:off x="2772989" y="1570164"/>
        <a:ext cx="1436827" cy="892124"/>
      </dsp:txXfrm>
    </dsp:sp>
    <dsp:sp modelId="{101EDF04-F0BC-468F-8A0D-808D5E954A89}">
      <dsp:nvSpPr>
        <dsp:cNvPr id="0" name=""/>
        <dsp:cNvSpPr/>
      </dsp:nvSpPr>
      <dsp:spPr>
        <a:xfrm>
          <a:off x="2579419" y="2766540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1DBD2A-F9A7-41C2-98ED-604CFE86F789}">
      <dsp:nvSpPr>
        <dsp:cNvPr id="0" name=""/>
        <dsp:cNvSpPr/>
      </dsp:nvSpPr>
      <dsp:spPr>
        <a:xfrm>
          <a:off x="2745234" y="2924065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Don Bosco Society</a:t>
          </a:r>
          <a:endParaRPr lang="en-IN" sz="1800" kern="1200" dirty="0"/>
        </a:p>
      </dsp:txBody>
      <dsp:txXfrm>
        <a:off x="2772989" y="2951820"/>
        <a:ext cx="1436827" cy="892124"/>
      </dsp:txXfrm>
    </dsp:sp>
    <dsp:sp modelId="{63CD3831-6177-4D49-B27F-397A9ECB7F4B}">
      <dsp:nvSpPr>
        <dsp:cNvPr id="0" name=""/>
        <dsp:cNvSpPr/>
      </dsp:nvSpPr>
      <dsp:spPr>
        <a:xfrm>
          <a:off x="2579419" y="4148196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DEA3A3-614A-401D-BCCF-681DBD5734D4}">
      <dsp:nvSpPr>
        <dsp:cNvPr id="0" name=""/>
        <dsp:cNvSpPr/>
      </dsp:nvSpPr>
      <dsp:spPr>
        <a:xfrm>
          <a:off x="2745234" y="4305720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u="none" kern="1200" dirty="0" err="1"/>
            <a:t>M.S.Ramaiah</a:t>
          </a:r>
          <a:r>
            <a:rPr lang="en-IN" sz="1800" b="1" i="0" u="none" kern="1200" dirty="0"/>
            <a:t> </a:t>
          </a:r>
          <a:r>
            <a:rPr lang="en-IN" sz="1800" b="0" i="0" u="none" kern="1200" dirty="0"/>
            <a:t>Polytechnic</a:t>
          </a:r>
          <a:endParaRPr lang="en-IN" sz="1800" b="0" kern="1200" dirty="0"/>
        </a:p>
      </dsp:txBody>
      <dsp:txXfrm>
        <a:off x="2772989" y="4333475"/>
        <a:ext cx="1436827" cy="892124"/>
      </dsp:txXfrm>
    </dsp:sp>
    <dsp:sp modelId="{F6D17860-0030-4343-A193-E80512B50989}">
      <dsp:nvSpPr>
        <dsp:cNvPr id="0" name=""/>
        <dsp:cNvSpPr/>
      </dsp:nvSpPr>
      <dsp:spPr>
        <a:xfrm>
          <a:off x="4403387" y="1384884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8CD2ED-2A85-4673-AA23-EF71CC185821}">
      <dsp:nvSpPr>
        <dsp:cNvPr id="0" name=""/>
        <dsp:cNvSpPr/>
      </dsp:nvSpPr>
      <dsp:spPr>
        <a:xfrm>
          <a:off x="4569202" y="1542409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/>
            <a:t>Organizations</a:t>
          </a:r>
          <a:endParaRPr lang="en-IN" sz="1800" b="0" kern="1200" dirty="0"/>
        </a:p>
      </dsp:txBody>
      <dsp:txXfrm>
        <a:off x="4596957" y="1570164"/>
        <a:ext cx="1436827" cy="892124"/>
      </dsp:txXfrm>
    </dsp:sp>
    <dsp:sp modelId="{B71311F0-7AFD-4DD3-8796-C9C40A77986A}">
      <dsp:nvSpPr>
        <dsp:cNvPr id="0" name=""/>
        <dsp:cNvSpPr/>
      </dsp:nvSpPr>
      <dsp:spPr>
        <a:xfrm>
          <a:off x="4403387" y="2766540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2A5FCE-9184-4D26-9511-D39EE15F8AD7}">
      <dsp:nvSpPr>
        <dsp:cNvPr id="0" name=""/>
        <dsp:cNvSpPr/>
      </dsp:nvSpPr>
      <dsp:spPr>
        <a:xfrm>
          <a:off x="4569202" y="2924065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/>
            <a:t>Future Sharp</a:t>
          </a:r>
          <a:endParaRPr lang="en-IN" sz="1800" b="0" kern="1200" dirty="0"/>
        </a:p>
      </dsp:txBody>
      <dsp:txXfrm>
        <a:off x="4596957" y="2951820"/>
        <a:ext cx="1436827" cy="892124"/>
      </dsp:txXfrm>
    </dsp:sp>
    <dsp:sp modelId="{BADD4E43-A3FD-4259-9A92-CEEF81115172}">
      <dsp:nvSpPr>
        <dsp:cNvPr id="0" name=""/>
        <dsp:cNvSpPr/>
      </dsp:nvSpPr>
      <dsp:spPr>
        <a:xfrm>
          <a:off x="4403387" y="4148196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D5A9BB-F06F-4DA9-97B3-6E28CB3C779A}">
      <dsp:nvSpPr>
        <dsp:cNvPr id="0" name=""/>
        <dsp:cNvSpPr/>
      </dsp:nvSpPr>
      <dsp:spPr>
        <a:xfrm>
          <a:off x="4569202" y="4305720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/>
            <a:t>IL&amp;FS</a:t>
          </a:r>
          <a:endParaRPr lang="en-IN" sz="1800" b="0" kern="1200" dirty="0"/>
        </a:p>
      </dsp:txBody>
      <dsp:txXfrm>
        <a:off x="4596957" y="4333475"/>
        <a:ext cx="1436827" cy="892124"/>
      </dsp:txXfrm>
    </dsp:sp>
    <dsp:sp modelId="{E61B99E2-CC8B-4A70-AF36-0D096B8C845D}">
      <dsp:nvSpPr>
        <dsp:cNvPr id="0" name=""/>
        <dsp:cNvSpPr/>
      </dsp:nvSpPr>
      <dsp:spPr>
        <a:xfrm>
          <a:off x="6227355" y="1384884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18DACD-84F8-4D81-B32D-904556A63E59}">
      <dsp:nvSpPr>
        <dsp:cNvPr id="0" name=""/>
        <dsp:cNvSpPr/>
      </dsp:nvSpPr>
      <dsp:spPr>
        <a:xfrm>
          <a:off x="6393171" y="1542409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/>
            <a:t>ASP</a:t>
          </a:r>
          <a:endParaRPr lang="en-IN" sz="1800" b="0" kern="1200" dirty="0"/>
        </a:p>
      </dsp:txBody>
      <dsp:txXfrm>
        <a:off x="6420926" y="1570164"/>
        <a:ext cx="1436827" cy="892124"/>
      </dsp:txXfrm>
    </dsp:sp>
    <dsp:sp modelId="{FF8C6B3B-65E3-4816-84FF-B21887BE3A5E}">
      <dsp:nvSpPr>
        <dsp:cNvPr id="0" name=""/>
        <dsp:cNvSpPr/>
      </dsp:nvSpPr>
      <dsp:spPr>
        <a:xfrm>
          <a:off x="6227355" y="2766540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F5C562-D9F3-4CDF-9112-6A773CF36B07}">
      <dsp:nvSpPr>
        <dsp:cNvPr id="0" name=""/>
        <dsp:cNvSpPr/>
      </dsp:nvSpPr>
      <dsp:spPr>
        <a:xfrm>
          <a:off x="6393171" y="2924065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/>
            <a:t>Sure Tech</a:t>
          </a:r>
          <a:endParaRPr lang="en-IN" sz="1800" b="0" kern="1200" dirty="0"/>
        </a:p>
      </dsp:txBody>
      <dsp:txXfrm>
        <a:off x="6420926" y="2951820"/>
        <a:ext cx="1436827" cy="892124"/>
      </dsp:txXfrm>
    </dsp:sp>
    <dsp:sp modelId="{3109BFFE-7FC7-4952-B03B-CAC05B036C00}">
      <dsp:nvSpPr>
        <dsp:cNvPr id="0" name=""/>
        <dsp:cNvSpPr/>
      </dsp:nvSpPr>
      <dsp:spPr>
        <a:xfrm>
          <a:off x="6227355" y="4148196"/>
          <a:ext cx="1492337" cy="9476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C66ED1-ECDD-4D39-B0BE-03F09931DA3F}">
      <dsp:nvSpPr>
        <dsp:cNvPr id="0" name=""/>
        <dsp:cNvSpPr/>
      </dsp:nvSpPr>
      <dsp:spPr>
        <a:xfrm>
          <a:off x="6393171" y="4305720"/>
          <a:ext cx="1492337" cy="9476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/>
            <a:t>J S Services</a:t>
          </a:r>
          <a:endParaRPr lang="en-IN" sz="1800" b="0" kern="1200" dirty="0"/>
        </a:p>
      </dsp:txBody>
      <dsp:txXfrm>
        <a:off x="6420926" y="4333475"/>
        <a:ext cx="1436827" cy="8921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811254-42B9-4A7C-8908-20BFD7F9366A}">
      <dsp:nvSpPr>
        <dsp:cNvPr id="0" name=""/>
        <dsp:cNvSpPr/>
      </dsp:nvSpPr>
      <dsp:spPr>
        <a:xfrm>
          <a:off x="457199" y="0"/>
          <a:ext cx="5181600" cy="40640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C0350D-0519-432F-82A1-E176FC897AEF}">
      <dsp:nvSpPr>
        <dsp:cNvPr id="0" name=""/>
        <dsp:cNvSpPr/>
      </dsp:nvSpPr>
      <dsp:spPr>
        <a:xfrm>
          <a:off x="206573" y="1219199"/>
          <a:ext cx="1828800" cy="1625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40% Theory Classroom session</a:t>
          </a:r>
          <a:endParaRPr lang="en-IN" sz="2300" kern="1200" dirty="0"/>
        </a:p>
      </dsp:txBody>
      <dsp:txXfrm>
        <a:off x="285928" y="1298554"/>
        <a:ext cx="1670090" cy="1466890"/>
      </dsp:txXfrm>
    </dsp:sp>
    <dsp:sp modelId="{D964D4B5-5D3B-4220-B693-BE2BC007DD8D}">
      <dsp:nvSpPr>
        <dsp:cNvPr id="0" name=""/>
        <dsp:cNvSpPr/>
      </dsp:nvSpPr>
      <dsp:spPr>
        <a:xfrm>
          <a:off x="2133600" y="1219199"/>
          <a:ext cx="1828800" cy="1625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60% Practical In House training</a:t>
          </a:r>
          <a:endParaRPr lang="en-IN" sz="2300" kern="1200" dirty="0"/>
        </a:p>
      </dsp:txBody>
      <dsp:txXfrm>
        <a:off x="2212955" y="1298554"/>
        <a:ext cx="1670090" cy="1466890"/>
      </dsp:txXfrm>
    </dsp:sp>
    <dsp:sp modelId="{7207E301-9131-4C60-A82B-3112AB6E14E9}">
      <dsp:nvSpPr>
        <dsp:cNvPr id="0" name=""/>
        <dsp:cNvSpPr/>
      </dsp:nvSpPr>
      <dsp:spPr>
        <a:xfrm>
          <a:off x="4060626" y="1219199"/>
          <a:ext cx="1828800" cy="1625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Final Exam</a:t>
          </a:r>
          <a:endParaRPr lang="en-IN" sz="2300" kern="1200" dirty="0"/>
        </a:p>
      </dsp:txBody>
      <dsp:txXfrm>
        <a:off x="4139981" y="1298554"/>
        <a:ext cx="1670090" cy="146689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74BD5A-8601-4384-9D3B-0B1F57CC9E20}">
      <dsp:nvSpPr>
        <dsp:cNvPr id="0" name=""/>
        <dsp:cNvSpPr/>
      </dsp:nvSpPr>
      <dsp:spPr>
        <a:xfrm>
          <a:off x="1909" y="3857325"/>
          <a:ext cx="8494994" cy="1777611"/>
        </a:xfrm>
        <a:prstGeom prst="snip2DiagRect">
          <a:avLst/>
        </a:prstGeom>
        <a:solidFill>
          <a:srgbClr val="F41857">
            <a:alpha val="75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Advanced Home Appliances Training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3 Months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0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Refrigeration, Repairs and Servicing of Refrigerators, Air conditioners, Washing machine, Microwave, Small home appliances, Engineering drawing, Communications and Customer handling</a:t>
          </a:r>
          <a:endParaRPr lang="en-IN" sz="1000" kern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0046" y="4005462"/>
        <a:ext cx="8198720" cy="1481337"/>
      </dsp:txXfrm>
    </dsp:sp>
    <dsp:sp modelId="{59C6FB34-8A3D-48D4-B46E-29F07A72B230}">
      <dsp:nvSpPr>
        <dsp:cNvPr id="0" name=""/>
        <dsp:cNvSpPr/>
      </dsp:nvSpPr>
      <dsp:spPr>
        <a:xfrm>
          <a:off x="974" y="1928956"/>
          <a:ext cx="5028514" cy="1777611"/>
        </a:xfrm>
        <a:prstGeom prst="snip2Diag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Advanced Refrigeration and Air-conditioning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 Month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Refrigeration, Repairs and Servicing of Refrigerators, Air conditioners</a:t>
          </a:r>
          <a:r>
            <a:rPr lang="en-IN" sz="9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en-IN" sz="900" kern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49111" y="2077093"/>
        <a:ext cx="4732240" cy="1481337"/>
      </dsp:txXfrm>
    </dsp:sp>
    <dsp:sp modelId="{E7074115-56B7-40B2-9960-DE3388B4A325}">
      <dsp:nvSpPr>
        <dsp:cNvPr id="0" name=""/>
        <dsp:cNvSpPr/>
      </dsp:nvSpPr>
      <dsp:spPr>
        <a:xfrm>
          <a:off x="0" y="110341"/>
          <a:ext cx="1630517" cy="1777611"/>
        </a:xfrm>
        <a:prstGeom prst="snip2DiagRect">
          <a:avLst/>
        </a:prstGeom>
        <a:solidFill>
          <a:srgbClr val="32E329">
            <a:alpha val="74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Refrigeration &amp; Air Conditioning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Refrigeration, Servicing of Refrigerators and Air conditioner</a:t>
          </a:r>
          <a:endParaRPr lang="en-IN" sz="1200" kern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5879" y="246220"/>
        <a:ext cx="1358759" cy="1505853"/>
      </dsp:txXfrm>
    </dsp:sp>
    <dsp:sp modelId="{2B7461B0-491B-4F62-AFBC-F409951C4110}">
      <dsp:nvSpPr>
        <dsp:cNvPr id="0" name=""/>
        <dsp:cNvSpPr/>
      </dsp:nvSpPr>
      <dsp:spPr>
        <a:xfrm>
          <a:off x="1647797" y="72016"/>
          <a:ext cx="1630517" cy="1777611"/>
        </a:xfrm>
        <a:prstGeom prst="snip2DiagRect">
          <a:avLst/>
        </a:prstGeom>
        <a:solidFill>
          <a:srgbClr val="32E329">
            <a:alpha val="74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 &amp; Maintenance of Air conditioner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Servicing and Repairs of Air conditioner</a:t>
          </a:r>
        </a:p>
      </dsp:txBody>
      <dsp:txXfrm>
        <a:off x="1783676" y="207895"/>
        <a:ext cx="1358759" cy="1505853"/>
      </dsp:txXfrm>
    </dsp:sp>
    <dsp:sp modelId="{6FB7495D-EBFD-41E2-9108-EBE3D60D3B55}">
      <dsp:nvSpPr>
        <dsp:cNvPr id="0" name=""/>
        <dsp:cNvSpPr/>
      </dsp:nvSpPr>
      <dsp:spPr>
        <a:xfrm>
          <a:off x="3401385" y="72016"/>
          <a:ext cx="1630517" cy="1777611"/>
        </a:xfrm>
        <a:prstGeom prst="snip2DiagRect">
          <a:avLst/>
        </a:prstGeom>
        <a:solidFill>
          <a:srgbClr val="32E329">
            <a:alpha val="74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 &amp; Maintenance of Refrigerator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Servicing and Repairs of Refrigerator</a:t>
          </a:r>
          <a:endParaRPr lang="en-IN" sz="1200" kern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37264" y="207895"/>
        <a:ext cx="1358759" cy="1505853"/>
      </dsp:txXfrm>
    </dsp:sp>
    <dsp:sp modelId="{CD74DF32-A893-47FA-9C40-6DE8F2CD9C2D}">
      <dsp:nvSpPr>
        <dsp:cNvPr id="0" name=""/>
        <dsp:cNvSpPr/>
      </dsp:nvSpPr>
      <dsp:spPr>
        <a:xfrm>
          <a:off x="5166453" y="1928956"/>
          <a:ext cx="3329515" cy="1777611"/>
        </a:xfrm>
        <a:prstGeom prst="snip2Diag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Advanced Washing Machine and Microwav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 Month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s and Servicing of Washing machine, Microwave, Small home appliances.</a:t>
          </a:r>
          <a:endParaRPr lang="en-IN" sz="1200" kern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314590" y="2077093"/>
        <a:ext cx="3033241" cy="1481337"/>
      </dsp:txXfrm>
    </dsp:sp>
    <dsp:sp modelId="{D3D28688-CB58-4BAE-B212-D21B3E1BFD36}">
      <dsp:nvSpPr>
        <dsp:cNvPr id="0" name=""/>
        <dsp:cNvSpPr/>
      </dsp:nvSpPr>
      <dsp:spPr>
        <a:xfrm>
          <a:off x="5155202" y="110341"/>
          <a:ext cx="1630517" cy="1777611"/>
        </a:xfrm>
        <a:prstGeom prst="snip2DiagRect">
          <a:avLst/>
        </a:prstGeom>
        <a:solidFill>
          <a:srgbClr val="32E329">
            <a:alpha val="74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 &amp; Maintenance of Washing machine and Microwave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Servicing and Repairs of Washing machine and microwave</a:t>
          </a:r>
          <a:endParaRPr lang="en-IN" sz="1200" kern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291081" y="246220"/>
        <a:ext cx="1358759" cy="1505853"/>
      </dsp:txXfrm>
    </dsp:sp>
    <dsp:sp modelId="{971208BE-D721-4510-BDEE-D808505DCA22}">
      <dsp:nvSpPr>
        <dsp:cNvPr id="0" name=""/>
        <dsp:cNvSpPr/>
      </dsp:nvSpPr>
      <dsp:spPr>
        <a:xfrm>
          <a:off x="6866426" y="110341"/>
          <a:ext cx="1630517" cy="1777611"/>
        </a:xfrm>
        <a:prstGeom prst="snip2DiagRect">
          <a:avLst/>
        </a:prstGeom>
        <a:solidFill>
          <a:srgbClr val="32E329">
            <a:alpha val="74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Basic Home Appliance Repair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15 day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Repairs of Electric iron, hotplate, geyser, mixer grinder</a:t>
          </a:r>
          <a:endParaRPr lang="en-IN" sz="1200" kern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002305" y="246220"/>
        <a:ext cx="1358759" cy="15058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389DBE-B791-43F5-88E3-5DB6F15AB8C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DFCBBC-7BDC-4135-9262-B1E40A26B5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44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98B924-C3DE-44BD-A3C7-1967B04294E0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747EB7-F356-43C5-B9B8-53CD87703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985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3108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6777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3143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8"/>
          <p:cNvSpPr>
            <a:spLocks noChangeArrowheads="1"/>
          </p:cNvSpPr>
          <p:nvPr userDrawn="1"/>
        </p:nvSpPr>
        <p:spPr bwMode="gray">
          <a:xfrm>
            <a:off x="152401" y="6610351"/>
            <a:ext cx="11908367" cy="163513"/>
          </a:xfrm>
          <a:prstGeom prst="rect">
            <a:avLst/>
          </a:prstGeom>
          <a:solidFill>
            <a:srgbClr val="BB116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IN" sz="1800"/>
          </a:p>
        </p:txBody>
      </p:sp>
      <p:sp>
        <p:nvSpPr>
          <p:cNvPr id="12" name="Rectangle 33"/>
          <p:cNvSpPr>
            <a:spLocks noChangeArrowheads="1"/>
          </p:cNvSpPr>
          <p:nvPr userDrawn="1"/>
        </p:nvSpPr>
        <p:spPr bwMode="gray">
          <a:xfrm>
            <a:off x="114301" y="93392"/>
            <a:ext cx="11976100" cy="185738"/>
          </a:xfrm>
          <a:prstGeom prst="rect">
            <a:avLst/>
          </a:prstGeom>
          <a:solidFill>
            <a:srgbClr val="85C24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IN" sz="1800"/>
          </a:p>
        </p:txBody>
      </p:sp>
    </p:spTree>
    <p:extLst>
      <p:ext uri="{BB962C8B-B14F-4D97-AF65-F5344CB8AC3E}">
        <p14:creationId xmlns:p14="http://schemas.microsoft.com/office/powerpoint/2010/main" val="2855273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24E1EAD-3E70-4378-BEC7-58DB8E21DE6E}" type="datetimeFigureOut">
              <a:rPr lang="en-IN" smtClean="0"/>
              <a:pPr/>
              <a:t>24-05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35AFBFEB-ABDD-49D9-BAF9-9DB3AD0B1D0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57288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24E1EAD-3E70-4378-BEC7-58DB8E21DE6E}" type="datetimeFigureOut">
              <a:rPr lang="en-IN" smtClean="0"/>
              <a:pPr/>
              <a:t>24-05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35AFBFEB-ABDD-49D9-BAF9-9DB3AD0B1D0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656132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293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529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20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033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180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4708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400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679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75E0D3-DB06-4706-BCAA-393A99E7DE8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956765-B9DB-44D8-ACDF-A1AACEB91268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5"/>
          <p:cNvGrpSpPr>
            <a:grpSpLocks/>
          </p:cNvGrpSpPr>
          <p:nvPr userDrawn="1">
            <p:custDataLst>
              <p:tags r:id="rId16"/>
            </p:custDataLst>
          </p:nvPr>
        </p:nvGrpSpPr>
        <p:grpSpPr bwMode="auto">
          <a:xfrm>
            <a:off x="-368300" y="0"/>
            <a:ext cx="368300" cy="1676400"/>
            <a:chOff x="-480" y="0"/>
            <a:chExt cx="528" cy="2400"/>
          </a:xfrm>
        </p:grpSpPr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2709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image" Target="../media/image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-1023215" y="696331"/>
            <a:ext cx="39604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HOT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 SUMER 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THIS YEAR</a:t>
            </a:r>
          </a:p>
        </p:txBody>
      </p:sp>
      <p:grpSp>
        <p:nvGrpSpPr>
          <p:cNvPr id="10" name="Group 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368300" y="0"/>
            <a:ext cx="368300" cy="1676400"/>
            <a:chOff x="-480" y="0"/>
            <a:chExt cx="528" cy="2400"/>
          </a:xfrm>
        </p:grpSpPr>
        <p:sp>
          <p:nvSpPr>
            <p:cNvPr id="11" name="Rectangle 6"/>
            <p:cNvSpPr>
              <a:spLocks noChangeArrowheads="1"/>
            </p:cNvSpPr>
            <p:nvPr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8"/>
            <p:cNvSpPr>
              <a:spLocks noChangeArrowheads="1"/>
            </p:cNvSpPr>
            <p:nvPr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107421" y="184055"/>
            <a:ext cx="6121512" cy="6217920"/>
            <a:chOff x="12002" y="0"/>
            <a:chExt cx="2655476" cy="2572421"/>
          </a:xfrm>
        </p:grpSpPr>
        <p:sp>
          <p:nvSpPr>
            <p:cNvPr id="21" name="Teardrop 20"/>
            <p:cNvSpPr/>
            <p:nvPr/>
          </p:nvSpPr>
          <p:spPr>
            <a:xfrm flipH="1">
              <a:off x="12002" y="0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2" name="Teardrop 21"/>
            <p:cNvSpPr/>
            <p:nvPr/>
          </p:nvSpPr>
          <p:spPr>
            <a:xfrm flipH="1">
              <a:off x="84803" y="78410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3" name="Teardrop 22"/>
            <p:cNvSpPr/>
            <p:nvPr/>
          </p:nvSpPr>
          <p:spPr>
            <a:xfrm flipH="1">
              <a:off x="140874" y="126116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96177" y="1734973"/>
            <a:ext cx="9144000" cy="2387600"/>
          </a:xfrm>
        </p:spPr>
        <p:txBody>
          <a:bodyPr>
            <a:normAutofit/>
          </a:bodyPr>
          <a:lstStyle/>
          <a:p>
            <a:pPr lvl="0"/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OF </a:t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-290 TECHNOLOGIES </a:t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NETWORK COUNTRIES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3"/>
          <p:cNvPicPr/>
          <p:nvPr/>
        </p:nvPicPr>
        <p:blipFill rotWithShape="1">
          <a:blip r:embed="rId3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69899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4169" y="3053816"/>
            <a:ext cx="11307997" cy="2241515"/>
          </a:xfrm>
        </p:spPr>
        <p:txBody>
          <a:bodyPr>
            <a:normAutofit/>
          </a:bodyPr>
          <a:lstStyle/>
          <a:p>
            <a:r>
              <a:rPr lang="en-AU" sz="2400" dirty="0">
                <a:latin typeface="Arial" panose="020B0604020202020204" pitchFamily="34" charset="0"/>
                <a:cs typeface="Arial" panose="020B0604020202020204" pitchFamily="34" charset="0"/>
              </a:rPr>
              <a:t>When HC’s burn they produce carbon and steam</a:t>
            </a:r>
          </a:p>
          <a:p>
            <a:pPr marL="0" indent="0">
              <a:buNone/>
            </a:pPr>
            <a:endParaRPr lang="en-A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AU" sz="2400" dirty="0">
                <a:latin typeface="Arial" panose="020B0604020202020204" pitchFamily="34" charset="0"/>
                <a:cs typeface="Arial" panose="020B0604020202020204" pitchFamily="34" charset="0"/>
              </a:rPr>
              <a:t>When chemical refrigerants burn they ALL produce toxic </a:t>
            </a:r>
            <a:r>
              <a:rPr lang="en-A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fume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1368" y="24193"/>
            <a:ext cx="2655476" cy="2572421"/>
            <a:chOff x="6260219" y="460815"/>
            <a:chExt cx="2655476" cy="2572421"/>
          </a:xfrm>
        </p:grpSpPr>
        <p:sp>
          <p:nvSpPr>
            <p:cNvPr id="5" name="Teardrop 4"/>
            <p:cNvSpPr/>
            <p:nvPr/>
          </p:nvSpPr>
          <p:spPr>
            <a:xfrm flipH="1">
              <a:off x="6260219" y="460815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6" name="Teardrop 5"/>
            <p:cNvSpPr/>
            <p:nvPr/>
          </p:nvSpPr>
          <p:spPr>
            <a:xfrm flipH="1">
              <a:off x="6333020" y="539225"/>
              <a:ext cx="2510498" cy="2416134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7" name="Teardrop 6"/>
            <p:cNvSpPr/>
            <p:nvPr/>
          </p:nvSpPr>
          <p:spPr>
            <a:xfrm flipH="1">
              <a:off x="6389091" y="586931"/>
              <a:ext cx="2398357" cy="2312697"/>
            </a:xfrm>
            <a:prstGeom prst="teardrop">
              <a:avLst/>
            </a:prstGeom>
            <a:solidFill>
              <a:srgbClr val="C01F63"/>
            </a:solidFill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217417" y="991013"/>
            <a:ext cx="21451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FLAMMABILITY</a:t>
            </a:r>
            <a:endParaRPr lang="en-US" sz="2400" dirty="0"/>
          </a:p>
        </p:txBody>
      </p:sp>
      <p:pic>
        <p:nvPicPr>
          <p:cNvPr id="9" name="Picture 8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063012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96315" y="630250"/>
            <a:ext cx="11244618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ervice Manuals for R290 AC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re uploaded on Godrej Smart care website</a:t>
            </a:r>
            <a:endParaRPr lang="en-US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l="-96" r="46219" b="64814"/>
          <a:stretch/>
        </p:blipFill>
        <p:spPr bwMode="auto">
          <a:xfrm>
            <a:off x="154588" y="2738770"/>
            <a:ext cx="11855241" cy="4052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4"/>
          <p:cNvGrpSpPr/>
          <p:nvPr/>
        </p:nvGrpSpPr>
        <p:grpSpPr>
          <a:xfrm>
            <a:off x="25716" y="0"/>
            <a:ext cx="2655476" cy="2572421"/>
            <a:chOff x="9339949" y="464009"/>
            <a:chExt cx="2655476" cy="2572421"/>
          </a:xfrm>
        </p:grpSpPr>
        <p:sp>
          <p:nvSpPr>
            <p:cNvPr id="6" name="Teardrop 5"/>
            <p:cNvSpPr/>
            <p:nvPr/>
          </p:nvSpPr>
          <p:spPr>
            <a:xfrm flipH="1">
              <a:off x="9339949" y="464009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7" name="Teardrop 6"/>
            <p:cNvSpPr/>
            <p:nvPr/>
          </p:nvSpPr>
          <p:spPr>
            <a:xfrm flipH="1">
              <a:off x="9412750" y="542419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8" name="Teardrop 7"/>
            <p:cNvSpPr/>
            <p:nvPr/>
          </p:nvSpPr>
          <p:spPr>
            <a:xfrm flipH="1">
              <a:off x="9468821" y="590125"/>
              <a:ext cx="2398357" cy="2312697"/>
            </a:xfrm>
            <a:prstGeom prst="teardrop">
              <a:avLst/>
            </a:prstGeom>
            <a:solidFill>
              <a:srgbClr val="8CB133"/>
            </a:solidFill>
            <a:ln w="25400">
              <a:solidFill>
                <a:srgbClr val="92D050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711" y="859383"/>
            <a:ext cx="2488545" cy="846161"/>
          </a:xfrm>
        </p:spPr>
        <p:txBody>
          <a:bodyPr>
            <a:no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SERVICE MODULE</a:t>
            </a:r>
          </a:p>
        </p:txBody>
      </p:sp>
      <p:pic>
        <p:nvPicPr>
          <p:cNvPr id="9" name="Picture 8"/>
          <p:cNvPicPr/>
          <p:nvPr/>
        </p:nvPicPr>
        <p:blipFill rotWithShape="1">
          <a:blip r:embed="rId3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592926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843518" y="-1258984"/>
            <a:ext cx="4903676" cy="816093"/>
          </a:xfrm>
        </p:spPr>
        <p:txBody>
          <a:bodyPr>
            <a:noAutofit/>
          </a:bodyPr>
          <a:lstStyle/>
          <a:p>
            <a:r>
              <a:rPr lang="en-US" sz="2400" b="1" dirty="0"/>
              <a:t> Competent Trainers to Train Technicians</a:t>
            </a:r>
            <a:br>
              <a:rPr lang="en-US" sz="2400" b="1" dirty="0"/>
            </a:br>
            <a:endParaRPr lang="en-IN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2759645" y="49761"/>
            <a:ext cx="80045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raining Workshop organized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by GIZ </a:t>
            </a:r>
          </a:p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for Godrej Trainers</a:t>
            </a:r>
            <a:endParaRPr lang="en-IN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 descr="F:\BHASKAR FINAL TRAINING MATERIAL\R290 pjt\GIZ\training pics\day2\IMG_255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42915" y="1976368"/>
            <a:ext cx="4608512" cy="33123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Picture 2" descr="F:\BHASKAR FINAL TRAINING MATERIAL\R290 pjt\GIZ\training pics\day2\IMG_256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98747" y="977102"/>
            <a:ext cx="3816424" cy="244827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Picture 3" descr="F:\BHASKAR FINAL TRAINING MATERIAL\R290 pjt\GIZ\training pics\day1\IMG_244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98747" y="3632552"/>
            <a:ext cx="3816424" cy="25442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0" name="TextBox 9"/>
          <p:cNvSpPr txBox="1"/>
          <p:nvPr/>
        </p:nvSpPr>
        <p:spPr>
          <a:xfrm>
            <a:off x="2558597" y="5553016"/>
            <a:ext cx="72953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Theory and Practical training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being imparted  to Godrej Trainers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by Mr. Rolf H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uehren from GIZ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1368" y="24193"/>
            <a:ext cx="2655476" cy="2572421"/>
            <a:chOff x="6260219" y="460815"/>
            <a:chExt cx="2655476" cy="2572421"/>
          </a:xfrm>
        </p:grpSpPr>
        <p:sp>
          <p:nvSpPr>
            <p:cNvPr id="12" name="Teardrop 11"/>
            <p:cNvSpPr/>
            <p:nvPr/>
          </p:nvSpPr>
          <p:spPr>
            <a:xfrm flipH="1">
              <a:off x="6260219" y="460815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3" name="Teardrop 12"/>
            <p:cNvSpPr/>
            <p:nvPr/>
          </p:nvSpPr>
          <p:spPr>
            <a:xfrm flipH="1">
              <a:off x="6333020" y="539225"/>
              <a:ext cx="2510498" cy="2416134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4" name="Teardrop 13"/>
            <p:cNvSpPr/>
            <p:nvPr/>
          </p:nvSpPr>
          <p:spPr>
            <a:xfrm flipH="1">
              <a:off x="6389091" y="586931"/>
              <a:ext cx="2398357" cy="2312697"/>
            </a:xfrm>
            <a:prstGeom prst="teardrop">
              <a:avLst/>
            </a:prstGeom>
            <a:solidFill>
              <a:srgbClr val="C01F63"/>
            </a:solidFill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441310" y="219799"/>
            <a:ext cx="1829540" cy="19389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TRAIN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 THE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 TRAINERS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(SUPPORTED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 BY GIZ)</a:t>
            </a:r>
            <a:endParaRPr lang="en-US" sz="2400" dirty="0"/>
          </a:p>
        </p:txBody>
      </p:sp>
      <p:pic>
        <p:nvPicPr>
          <p:cNvPr id="15" name="Picture 14"/>
          <p:cNvPicPr/>
          <p:nvPr/>
        </p:nvPicPr>
        <p:blipFill rotWithShape="1">
          <a:blip r:embed="rId5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794077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F:\BHASKAR FINAL TRAINING MATERIAL\R290 pjt\GIZ\training pics\day4\IMG_2927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31645" y="3606330"/>
            <a:ext cx="3489281" cy="25658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2" descr="F:\BHASKAR FINAL TRAINING MATERIAL\R290 pjt\GIZ\training pics\day2\IMG_259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5095" y="892185"/>
            <a:ext cx="3495831" cy="253321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" name="TextBox 5"/>
          <p:cNvSpPr txBox="1"/>
          <p:nvPr/>
        </p:nvSpPr>
        <p:spPr>
          <a:xfrm>
            <a:off x="2686844" y="4548070"/>
            <a:ext cx="73109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Practical training been imparted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to Godrej Trainers by  Mr. Rolf H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uehren</a:t>
            </a:r>
          </a:p>
          <a:p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 from GIZ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301986" y="385351"/>
            <a:ext cx="5754357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8 Trainers across the 5 Regions have been trained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urrently there are more than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500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SP’s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an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dia, with around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4500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echnicians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2300 technician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ave been trained in th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network across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28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ranches in the entire country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31368" y="24193"/>
            <a:ext cx="2655476" cy="2572421"/>
            <a:chOff x="6260219" y="460815"/>
            <a:chExt cx="2655476" cy="2572421"/>
          </a:xfrm>
        </p:grpSpPr>
        <p:sp>
          <p:nvSpPr>
            <p:cNvPr id="19" name="Teardrop 18"/>
            <p:cNvSpPr/>
            <p:nvPr/>
          </p:nvSpPr>
          <p:spPr>
            <a:xfrm flipH="1">
              <a:off x="6260219" y="460815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0" name="Teardrop 19"/>
            <p:cNvSpPr/>
            <p:nvPr/>
          </p:nvSpPr>
          <p:spPr>
            <a:xfrm flipH="1">
              <a:off x="6333020" y="539225"/>
              <a:ext cx="2510498" cy="2416134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1" name="Teardrop 20"/>
            <p:cNvSpPr/>
            <p:nvPr/>
          </p:nvSpPr>
          <p:spPr>
            <a:xfrm flipH="1">
              <a:off x="6389091" y="586931"/>
              <a:ext cx="2398357" cy="2312697"/>
            </a:xfrm>
            <a:prstGeom prst="teardrop">
              <a:avLst/>
            </a:prstGeom>
            <a:solidFill>
              <a:srgbClr val="C01F63"/>
            </a:solidFill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2" name="Rectangle 21"/>
          <p:cNvSpPr/>
          <p:nvPr/>
        </p:nvSpPr>
        <p:spPr>
          <a:xfrm>
            <a:off x="366377" y="362521"/>
            <a:ext cx="1678858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TRAIN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 THE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 TRAINERS -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 COVERAGE</a:t>
            </a:r>
            <a:endParaRPr lang="en-US" sz="2400" dirty="0"/>
          </a:p>
        </p:txBody>
      </p:sp>
      <p:pic>
        <p:nvPicPr>
          <p:cNvPr id="23" name="Picture 22"/>
          <p:cNvPicPr/>
          <p:nvPr/>
        </p:nvPicPr>
        <p:blipFill rotWithShape="1">
          <a:blip r:embed="rId4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0077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28277" y="1256857"/>
            <a:ext cx="4800534" cy="3600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" name="TextBox 4"/>
          <p:cNvSpPr txBox="1"/>
          <p:nvPr/>
        </p:nvSpPr>
        <p:spPr>
          <a:xfrm>
            <a:off x="2655476" y="5201793"/>
            <a:ext cx="45365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Practical training  on installation been imparted  to Godrej Technicians by Mr. K A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Kazmi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Lucknow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866288" y="5201793"/>
            <a:ext cx="43257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Practical training on Tube bending to Godrej Technicians under the guidance of Mr. Tarun Karla at Faridabad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 descr="C:\Users\larkins\Desktop\Picture 76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11762" y="1298912"/>
            <a:ext cx="3672408" cy="36471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7" name="Group 6"/>
          <p:cNvGrpSpPr/>
          <p:nvPr/>
        </p:nvGrpSpPr>
        <p:grpSpPr>
          <a:xfrm>
            <a:off x="0" y="16448"/>
            <a:ext cx="2655476" cy="2581279"/>
            <a:chOff x="1094659" y="3638498"/>
            <a:chExt cx="2655476" cy="2572421"/>
          </a:xfrm>
        </p:grpSpPr>
        <p:sp>
          <p:nvSpPr>
            <p:cNvPr id="8" name="Teardrop 7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9" name="Teardrop 8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0" name="Teardrop 9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9348" y="495596"/>
            <a:ext cx="24674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 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IANS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/>
          <p:nvPr/>
        </p:nvPicPr>
        <p:blipFill rotWithShape="1">
          <a:blip r:embed="rId4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4503137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025147" y="4052972"/>
            <a:ext cx="40324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Practical training on Installation to Godrej Technicians  at Delhi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49782" y="5461636"/>
            <a:ext cx="41044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Practical training on leak testing to Godrej Technicians at Faridabad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73379" y="622325"/>
            <a:ext cx="3986951" cy="299045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100" name="Picture 4" descr="C:\Users\larkins\Desktop\Picture 64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49782" y="376501"/>
            <a:ext cx="3657600" cy="48768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7" name="Group 6"/>
          <p:cNvGrpSpPr/>
          <p:nvPr/>
        </p:nvGrpSpPr>
        <p:grpSpPr>
          <a:xfrm>
            <a:off x="25716" y="0"/>
            <a:ext cx="2655476" cy="2572421"/>
            <a:chOff x="9339949" y="464009"/>
            <a:chExt cx="2655476" cy="2572421"/>
          </a:xfrm>
        </p:grpSpPr>
        <p:sp>
          <p:nvSpPr>
            <p:cNvPr id="8" name="Teardrop 7"/>
            <p:cNvSpPr/>
            <p:nvPr/>
          </p:nvSpPr>
          <p:spPr>
            <a:xfrm flipH="1">
              <a:off x="9339949" y="464009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0" name="Teardrop 9"/>
            <p:cNvSpPr/>
            <p:nvPr/>
          </p:nvSpPr>
          <p:spPr>
            <a:xfrm flipH="1">
              <a:off x="9412750" y="542419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1" name="Teardrop 10"/>
            <p:cNvSpPr/>
            <p:nvPr/>
          </p:nvSpPr>
          <p:spPr>
            <a:xfrm flipH="1">
              <a:off x="9468821" y="590125"/>
              <a:ext cx="2398357" cy="2312697"/>
            </a:xfrm>
            <a:prstGeom prst="teardrop">
              <a:avLst/>
            </a:prstGeom>
            <a:solidFill>
              <a:srgbClr val="8CB133"/>
            </a:solidFill>
            <a:ln w="25400">
              <a:solidFill>
                <a:srgbClr val="92D050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859383"/>
            <a:ext cx="2488545" cy="846161"/>
          </a:xfrm>
        </p:spPr>
        <p:txBody>
          <a:bodyPr>
            <a:no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 </a:t>
            </a:r>
            <a:b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b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IAN</a:t>
            </a:r>
          </a:p>
        </p:txBody>
      </p:sp>
    </p:spTree>
    <p:extLst>
      <p:ext uri="{BB962C8B-B14F-4D97-AF65-F5344CB8AC3E}">
        <p14:creationId xmlns:p14="http://schemas.microsoft.com/office/powerpoint/2010/main" val="39969061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2" y="2839261"/>
            <a:ext cx="5256766" cy="1325563"/>
          </a:xfrm>
        </p:spPr>
        <p:txBody>
          <a:bodyPr>
            <a:noAutofit/>
          </a:bodyPr>
          <a:lstStyle/>
          <a:p>
            <a:pPr marL="514350" indent="-514350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Only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rained and certified t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chnician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ttend to Green AC’s Installation and repairs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1368" y="24193"/>
            <a:ext cx="2655476" cy="2572421"/>
            <a:chOff x="6260219" y="460815"/>
            <a:chExt cx="2655476" cy="2572421"/>
          </a:xfrm>
        </p:grpSpPr>
        <p:sp>
          <p:nvSpPr>
            <p:cNvPr id="9" name="Teardrop 8"/>
            <p:cNvSpPr/>
            <p:nvPr/>
          </p:nvSpPr>
          <p:spPr>
            <a:xfrm flipH="1">
              <a:off x="6260219" y="460815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0" name="Teardrop 9"/>
            <p:cNvSpPr/>
            <p:nvPr/>
          </p:nvSpPr>
          <p:spPr>
            <a:xfrm flipH="1">
              <a:off x="6333020" y="539225"/>
              <a:ext cx="2510498" cy="2416134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1" name="Teardrop 10"/>
            <p:cNvSpPr/>
            <p:nvPr/>
          </p:nvSpPr>
          <p:spPr>
            <a:xfrm flipH="1">
              <a:off x="6389091" y="586931"/>
              <a:ext cx="2398357" cy="2312697"/>
            </a:xfrm>
            <a:prstGeom prst="teardrop">
              <a:avLst/>
            </a:prstGeom>
            <a:solidFill>
              <a:srgbClr val="C01F63"/>
            </a:solidFill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175687" y="362521"/>
            <a:ext cx="2060243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100%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 SECURE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INSTALLATION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CYCLE</a:t>
            </a:r>
            <a:endParaRPr lang="en-US" sz="2400" dirty="0"/>
          </a:p>
        </p:txBody>
      </p:sp>
      <p:grpSp>
        <p:nvGrpSpPr>
          <p:cNvPr id="13" name="Group 12"/>
          <p:cNvGrpSpPr/>
          <p:nvPr/>
        </p:nvGrpSpPr>
        <p:grpSpPr>
          <a:xfrm flipH="1">
            <a:off x="4699746" y="3737143"/>
            <a:ext cx="3143302" cy="3087415"/>
            <a:chOff x="6260219" y="460815"/>
            <a:chExt cx="2655476" cy="2572421"/>
          </a:xfrm>
        </p:grpSpPr>
        <p:sp>
          <p:nvSpPr>
            <p:cNvPr id="14" name="Teardrop 13"/>
            <p:cNvSpPr/>
            <p:nvPr/>
          </p:nvSpPr>
          <p:spPr>
            <a:xfrm flipH="1">
              <a:off x="6260219" y="460815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5" name="Teardrop 14"/>
            <p:cNvSpPr/>
            <p:nvPr/>
          </p:nvSpPr>
          <p:spPr>
            <a:xfrm flipH="1">
              <a:off x="6333020" y="539225"/>
              <a:ext cx="2510498" cy="2416134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6" name="Teardrop 15"/>
            <p:cNvSpPr/>
            <p:nvPr/>
          </p:nvSpPr>
          <p:spPr>
            <a:xfrm flipH="1">
              <a:off x="6389091" y="586931"/>
              <a:ext cx="2398357" cy="2312697"/>
            </a:xfrm>
            <a:prstGeom prst="teardrop">
              <a:avLst/>
            </a:prstGeom>
            <a:solidFill>
              <a:srgbClr val="C01F63"/>
            </a:solidFill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699746" y="108890"/>
            <a:ext cx="3137787" cy="3064821"/>
            <a:chOff x="175042" y="184055"/>
            <a:chExt cx="2763962" cy="2685060"/>
          </a:xfrm>
        </p:grpSpPr>
        <p:grpSp>
          <p:nvGrpSpPr>
            <p:cNvPr id="18" name="Group 17"/>
            <p:cNvGrpSpPr/>
            <p:nvPr/>
          </p:nvGrpSpPr>
          <p:grpSpPr>
            <a:xfrm flipH="1" flipV="1">
              <a:off x="175042" y="184055"/>
              <a:ext cx="2763962" cy="2685060"/>
              <a:chOff x="9339949" y="464009"/>
              <a:chExt cx="2655476" cy="2572421"/>
            </a:xfrm>
          </p:grpSpPr>
          <p:sp>
            <p:nvSpPr>
              <p:cNvPr id="20" name="Teardrop 19"/>
              <p:cNvSpPr/>
              <p:nvPr/>
            </p:nvSpPr>
            <p:spPr>
              <a:xfrm flipH="1">
                <a:off x="9339949" y="464009"/>
                <a:ext cx="2655476" cy="2572421"/>
              </a:xfrm>
              <a:prstGeom prst="teardrop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  <p:sp>
            <p:nvSpPr>
              <p:cNvPr id="21" name="Teardrop 20"/>
              <p:cNvSpPr/>
              <p:nvPr/>
            </p:nvSpPr>
            <p:spPr>
              <a:xfrm flipH="1">
                <a:off x="9412750" y="542419"/>
                <a:ext cx="2510498" cy="2416134"/>
              </a:xfrm>
              <a:prstGeom prst="teardrop">
                <a:avLst/>
              </a:prstGeom>
              <a:noFill/>
              <a:ln w="25400">
                <a:solidFill>
                  <a:srgbClr val="CC0066"/>
                </a:solidFill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  <p:sp>
            <p:nvSpPr>
              <p:cNvPr id="22" name="Teardrop 21"/>
              <p:cNvSpPr/>
              <p:nvPr/>
            </p:nvSpPr>
            <p:spPr>
              <a:xfrm flipH="1">
                <a:off x="9468821" y="590125"/>
                <a:ext cx="2398357" cy="2312697"/>
              </a:xfrm>
              <a:prstGeom prst="teardrop">
                <a:avLst/>
              </a:prstGeom>
              <a:solidFill>
                <a:srgbClr val="8CB133"/>
              </a:solidFill>
              <a:ln w="25400">
                <a:solidFill>
                  <a:srgbClr val="92D050"/>
                </a:solidFill>
              </a:ln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</p:grpSp>
        <p:sp>
          <p:nvSpPr>
            <p:cNvPr id="19" name="Rectangle 18"/>
            <p:cNvSpPr/>
            <p:nvPr/>
          </p:nvSpPr>
          <p:spPr>
            <a:xfrm>
              <a:off x="402012" y="1143084"/>
              <a:ext cx="2309369" cy="350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 flipV="1">
            <a:off x="8461486" y="198177"/>
            <a:ext cx="3143632" cy="2975534"/>
            <a:chOff x="1094659" y="3638498"/>
            <a:chExt cx="2655476" cy="2572421"/>
          </a:xfrm>
        </p:grpSpPr>
        <p:sp>
          <p:nvSpPr>
            <p:cNvPr id="24" name="Teardrop 23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5" name="Teardrop 24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6" name="Teardrop 25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 flipH="1" flipV="1">
            <a:off x="8461486" y="3737143"/>
            <a:ext cx="3143632" cy="3087415"/>
            <a:chOff x="175042" y="184055"/>
            <a:chExt cx="2763962" cy="2685060"/>
          </a:xfrm>
        </p:grpSpPr>
        <p:grpSp>
          <p:nvGrpSpPr>
            <p:cNvPr id="28" name="Group 27"/>
            <p:cNvGrpSpPr/>
            <p:nvPr/>
          </p:nvGrpSpPr>
          <p:grpSpPr>
            <a:xfrm flipH="1" flipV="1">
              <a:off x="175042" y="184055"/>
              <a:ext cx="2763962" cy="2685060"/>
              <a:chOff x="9339949" y="464009"/>
              <a:chExt cx="2655476" cy="2572421"/>
            </a:xfrm>
          </p:grpSpPr>
          <p:sp>
            <p:nvSpPr>
              <p:cNvPr id="30" name="Teardrop 29"/>
              <p:cNvSpPr/>
              <p:nvPr/>
            </p:nvSpPr>
            <p:spPr>
              <a:xfrm flipH="1">
                <a:off x="9339949" y="464009"/>
                <a:ext cx="2655476" cy="2572421"/>
              </a:xfrm>
              <a:prstGeom prst="teardrop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  <p:sp>
            <p:nvSpPr>
              <p:cNvPr id="31" name="Teardrop 30"/>
              <p:cNvSpPr/>
              <p:nvPr/>
            </p:nvSpPr>
            <p:spPr>
              <a:xfrm flipH="1">
                <a:off x="9412750" y="542419"/>
                <a:ext cx="2510498" cy="2416134"/>
              </a:xfrm>
              <a:prstGeom prst="teardrop">
                <a:avLst/>
              </a:prstGeom>
              <a:noFill/>
              <a:ln w="25400">
                <a:solidFill>
                  <a:srgbClr val="CC0066"/>
                </a:solidFill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  <p:sp>
            <p:nvSpPr>
              <p:cNvPr id="32" name="Teardrop 31"/>
              <p:cNvSpPr/>
              <p:nvPr/>
            </p:nvSpPr>
            <p:spPr>
              <a:xfrm flipH="1">
                <a:off x="9468821" y="590125"/>
                <a:ext cx="2398357" cy="2312697"/>
              </a:xfrm>
              <a:prstGeom prst="teardrop">
                <a:avLst/>
              </a:prstGeom>
              <a:solidFill>
                <a:srgbClr val="8CB133"/>
              </a:solidFill>
              <a:ln w="25400">
                <a:solidFill>
                  <a:srgbClr val="92D050"/>
                </a:solidFill>
              </a:ln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402012" y="2114546"/>
              <a:ext cx="2309369" cy="3212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3" name="Rectangle 32"/>
          <p:cNvSpPr/>
          <p:nvPr/>
        </p:nvSpPr>
        <p:spPr>
          <a:xfrm>
            <a:off x="8614049" y="1304678"/>
            <a:ext cx="26119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296499" y="4352209"/>
            <a:ext cx="19435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P allocates call only  to trained techs</a:t>
            </a:r>
            <a:endParaRPr lang="en-IN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908086" y="4018503"/>
            <a:ext cx="210643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Centre directs call to Godrej ASPs having trained AC technicians</a:t>
            </a:r>
            <a:endParaRPr lang="en-IN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12062" y="611763"/>
            <a:ext cx="220892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allows call to be closed  only through certified technicians</a:t>
            </a:r>
            <a:endParaRPr lang="en-IN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223175" y="808748"/>
            <a:ext cx="179134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SAC Installation prominently marked on packaging</a:t>
            </a:r>
            <a:endParaRPr lang="en-IN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Arrow: Right 37"/>
          <p:cNvSpPr/>
          <p:nvPr/>
        </p:nvSpPr>
        <p:spPr>
          <a:xfrm>
            <a:off x="7949893" y="1765925"/>
            <a:ext cx="445216" cy="415637"/>
          </a:xfrm>
          <a:prstGeom prst="rightArrow">
            <a:avLst/>
          </a:prstGeom>
          <a:solidFill>
            <a:srgbClr val="8CB133"/>
          </a:solidFill>
          <a:ln w="25400">
            <a:solidFill>
              <a:srgbClr val="92D050"/>
            </a:solidFill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39" name="Arrow: Right 38"/>
          <p:cNvSpPr/>
          <p:nvPr/>
        </p:nvSpPr>
        <p:spPr>
          <a:xfrm rot="5400000">
            <a:off x="9516086" y="3267047"/>
            <a:ext cx="445216" cy="415637"/>
          </a:xfrm>
          <a:prstGeom prst="rightArrow">
            <a:avLst/>
          </a:prstGeom>
          <a:solidFill>
            <a:srgbClr val="3396CE"/>
          </a:solidFill>
          <a:ln w="25400">
            <a:solidFill>
              <a:schemeClr val="accent1"/>
            </a:solidFill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40" name="Arrow: Right 39"/>
          <p:cNvSpPr/>
          <p:nvPr/>
        </p:nvSpPr>
        <p:spPr>
          <a:xfrm rot="10800000">
            <a:off x="7901050" y="4628219"/>
            <a:ext cx="445216" cy="415637"/>
          </a:xfrm>
          <a:prstGeom prst="rightArrow">
            <a:avLst/>
          </a:prstGeom>
          <a:solidFill>
            <a:srgbClr val="8CB133"/>
          </a:solidFill>
          <a:ln w="25400">
            <a:solidFill>
              <a:srgbClr val="92D050"/>
            </a:solidFill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41" name="Arrow: Right 40"/>
          <p:cNvSpPr/>
          <p:nvPr/>
        </p:nvSpPr>
        <p:spPr>
          <a:xfrm rot="16200000">
            <a:off x="6582106" y="3221776"/>
            <a:ext cx="445216" cy="415637"/>
          </a:xfrm>
          <a:prstGeom prst="rightArrow">
            <a:avLst/>
          </a:prstGeom>
          <a:solidFill>
            <a:srgbClr val="C01F63"/>
          </a:solidFill>
          <a:ln w="25400">
            <a:solidFill>
              <a:srgbClr val="CC0066"/>
            </a:solidFill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541136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-36762" y="2794360"/>
            <a:ext cx="894429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andling Apprehension on HC gas</a:t>
            </a:r>
          </a:p>
          <a:p>
            <a:pPr marL="800100" lvl="1" indent="-342900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Safe handling and storage of refrigerant cans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form sealed system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epair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o avoid refrigerant handling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oviding gas cans with150 grams charge which is as  per the safety norms</a:t>
            </a:r>
          </a:p>
        </p:txBody>
      </p:sp>
      <p:pic>
        <p:nvPicPr>
          <p:cNvPr id="7" name="Picture 2" descr="C:\Users\larkins\Pictures\20131003_15121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07535" y="1147351"/>
            <a:ext cx="2995797" cy="549229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8" name="Group 7"/>
          <p:cNvGrpSpPr/>
          <p:nvPr/>
        </p:nvGrpSpPr>
        <p:grpSpPr>
          <a:xfrm>
            <a:off x="31368" y="24193"/>
            <a:ext cx="2655476" cy="2572421"/>
            <a:chOff x="6260219" y="460815"/>
            <a:chExt cx="2655476" cy="2572421"/>
          </a:xfrm>
        </p:grpSpPr>
        <p:sp>
          <p:nvSpPr>
            <p:cNvPr id="9" name="Teardrop 8"/>
            <p:cNvSpPr/>
            <p:nvPr/>
          </p:nvSpPr>
          <p:spPr>
            <a:xfrm flipH="1">
              <a:off x="6260219" y="460815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0" name="Teardrop 9"/>
            <p:cNvSpPr/>
            <p:nvPr/>
          </p:nvSpPr>
          <p:spPr>
            <a:xfrm flipH="1">
              <a:off x="6333020" y="539225"/>
              <a:ext cx="2510498" cy="2416134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1" name="Teardrop 10"/>
            <p:cNvSpPr/>
            <p:nvPr/>
          </p:nvSpPr>
          <p:spPr>
            <a:xfrm flipH="1">
              <a:off x="6389091" y="586931"/>
              <a:ext cx="2398357" cy="2312697"/>
            </a:xfrm>
            <a:prstGeom prst="teardrop">
              <a:avLst/>
            </a:prstGeom>
            <a:solidFill>
              <a:srgbClr val="C01F63"/>
            </a:solidFill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175687" y="362521"/>
            <a:ext cx="2060243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100%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 SECURE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INSTALLATION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CYCLE</a:t>
            </a:r>
            <a:endParaRPr lang="en-US" sz="2400" dirty="0"/>
          </a:p>
        </p:txBody>
      </p:sp>
      <p:pic>
        <p:nvPicPr>
          <p:cNvPr id="13" name="Picture 12"/>
          <p:cNvPicPr/>
          <p:nvPr/>
        </p:nvPicPr>
        <p:blipFill rotWithShape="1">
          <a:blip r:embed="rId3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967165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877239" y="447761"/>
            <a:ext cx="90099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f  volume of the room is lower than Specified, </a:t>
            </a: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Installation is not Carried out</a:t>
            </a: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nd alternate non R 290 models are recommended  in order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o not exceed the safe limit of gas concentration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 descr="C:\Users\larkins\Desktop\Graph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15313" y="2101112"/>
            <a:ext cx="6099864" cy="4572222"/>
          </a:xfrm>
          <a:prstGeom prst="rect">
            <a:avLst/>
          </a:prstGeom>
          <a:noFill/>
        </p:spPr>
      </p:pic>
      <p:grpSp>
        <p:nvGrpSpPr>
          <p:cNvPr id="10" name="Group 9"/>
          <p:cNvGrpSpPr/>
          <p:nvPr/>
        </p:nvGrpSpPr>
        <p:grpSpPr>
          <a:xfrm>
            <a:off x="0" y="16448"/>
            <a:ext cx="2655476" cy="2581279"/>
            <a:chOff x="1094659" y="3638498"/>
            <a:chExt cx="2655476" cy="2572421"/>
          </a:xfrm>
        </p:grpSpPr>
        <p:sp>
          <p:nvSpPr>
            <p:cNvPr id="11" name="Teardrop 10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2" name="Teardrop 11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3" name="Teardrop 12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0" y="671770"/>
            <a:ext cx="24674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TY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S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/>
          <p:nvPr/>
        </p:nvPicPr>
        <p:blipFill rotWithShape="1">
          <a:blip r:embed="rId3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0861604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533174" y="2865391"/>
            <a:ext cx="32608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514350" indent="-514350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Installation Checklist</a:t>
            </a:r>
          </a:p>
        </p:txBody>
      </p:sp>
      <p:pic>
        <p:nvPicPr>
          <p:cNvPr id="7" name="Picture 2" descr="C:\Users\larkins\Desktop\Installation Checklis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35699" y="308794"/>
            <a:ext cx="7302095" cy="6296722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</p:pic>
      <p:grpSp>
        <p:nvGrpSpPr>
          <p:cNvPr id="10" name="Group 9"/>
          <p:cNvGrpSpPr/>
          <p:nvPr/>
        </p:nvGrpSpPr>
        <p:grpSpPr>
          <a:xfrm>
            <a:off x="0" y="16448"/>
            <a:ext cx="2655476" cy="2581279"/>
            <a:chOff x="1094659" y="3638498"/>
            <a:chExt cx="2655476" cy="2572421"/>
          </a:xfrm>
        </p:grpSpPr>
        <p:sp>
          <p:nvSpPr>
            <p:cNvPr id="11" name="Teardrop 10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2" name="Teardrop 11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3" name="Teardrop 12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0" y="671770"/>
            <a:ext cx="24674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TY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S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0663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221500" y="215412"/>
            <a:ext cx="6608300" cy="6476334"/>
            <a:chOff x="9339949" y="464009"/>
            <a:chExt cx="2655476" cy="2572421"/>
          </a:xfrm>
        </p:grpSpPr>
        <p:sp>
          <p:nvSpPr>
            <p:cNvPr id="4" name="Teardrop 3"/>
            <p:cNvSpPr/>
            <p:nvPr/>
          </p:nvSpPr>
          <p:spPr>
            <a:xfrm flipH="1">
              <a:off x="9339949" y="464009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5" name="Teardrop 4"/>
            <p:cNvSpPr/>
            <p:nvPr/>
          </p:nvSpPr>
          <p:spPr>
            <a:xfrm flipH="1">
              <a:off x="9412750" y="542419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6" name="Teardrop 5"/>
            <p:cNvSpPr/>
            <p:nvPr/>
          </p:nvSpPr>
          <p:spPr>
            <a:xfrm flipH="1">
              <a:off x="9468821" y="590125"/>
              <a:ext cx="2398357" cy="2312697"/>
            </a:xfrm>
            <a:prstGeom prst="teardrop">
              <a:avLst/>
            </a:prstGeom>
            <a:solidFill>
              <a:srgbClr val="8CB133"/>
            </a:solidFill>
            <a:ln w="25400">
              <a:solidFill>
                <a:srgbClr val="92D050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42205" y="2615111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CE OF R290</a:t>
            </a:r>
            <a:endParaRPr lang="en-US" sz="4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7742422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66308" y="1188512"/>
            <a:ext cx="2088232" cy="16997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14620" y="1229358"/>
            <a:ext cx="2232248" cy="166120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962892" y="1165785"/>
            <a:ext cx="2088232" cy="168077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90885" y="4288172"/>
            <a:ext cx="2207495" cy="17281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853970" y="4360180"/>
            <a:ext cx="2160240" cy="16561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868286" y="4288172"/>
            <a:ext cx="2174113" cy="17498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4" name="Right Arrow 13"/>
          <p:cNvSpPr/>
          <p:nvPr/>
        </p:nvSpPr>
        <p:spPr>
          <a:xfrm>
            <a:off x="5099437" y="2179095"/>
            <a:ext cx="576064" cy="216024"/>
          </a:xfrm>
          <a:prstGeom prst="rightArrow">
            <a:avLst/>
          </a:prstGeom>
          <a:solidFill>
            <a:srgbClr val="3396CE"/>
          </a:solidFill>
          <a:ln w="25400">
            <a:solidFill>
              <a:schemeClr val="accent1"/>
            </a:solidFill>
          </a:ln>
        </p:spPr>
        <p:txBody>
          <a:bodyPr wrap="none" anchor="ctr"/>
          <a:lstStyle/>
          <a:p>
            <a:endParaRPr lang="en-IN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8273256" y="2203779"/>
            <a:ext cx="576064" cy="216024"/>
          </a:xfrm>
          <a:prstGeom prst="rightArrow">
            <a:avLst/>
          </a:prstGeom>
          <a:solidFill>
            <a:srgbClr val="3396CE"/>
          </a:solidFill>
          <a:ln w="25400">
            <a:solidFill>
              <a:schemeClr val="accent1"/>
            </a:solidFill>
          </a:ln>
        </p:spPr>
        <p:txBody>
          <a:bodyPr wrap="none" anchor="ctr"/>
          <a:lstStyle/>
          <a:p>
            <a:endParaRPr lang="en-IN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16" name="Right Arrow 15"/>
          <p:cNvSpPr/>
          <p:nvPr/>
        </p:nvSpPr>
        <p:spPr>
          <a:xfrm rot="10800000">
            <a:off x="5153214" y="5152268"/>
            <a:ext cx="576064" cy="216024"/>
          </a:xfrm>
          <a:prstGeom prst="rightArrow">
            <a:avLst/>
          </a:prstGeom>
          <a:solidFill>
            <a:srgbClr val="3396CE"/>
          </a:solidFill>
          <a:ln w="25400">
            <a:solidFill>
              <a:schemeClr val="accent1"/>
            </a:solidFill>
          </a:ln>
        </p:spPr>
        <p:txBody>
          <a:bodyPr wrap="none" anchor="ctr"/>
          <a:lstStyle/>
          <a:p>
            <a:endParaRPr lang="en-IN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17" name="Right Arrow 16"/>
          <p:cNvSpPr/>
          <p:nvPr/>
        </p:nvSpPr>
        <p:spPr>
          <a:xfrm rot="10800000">
            <a:off x="8201248" y="5152268"/>
            <a:ext cx="576064" cy="216024"/>
          </a:xfrm>
          <a:prstGeom prst="rightArrow">
            <a:avLst/>
          </a:prstGeom>
          <a:solidFill>
            <a:srgbClr val="3396CE"/>
          </a:solidFill>
          <a:ln w="25400">
            <a:solidFill>
              <a:schemeClr val="accent1"/>
            </a:solidFill>
          </a:ln>
        </p:spPr>
        <p:txBody>
          <a:bodyPr wrap="none" anchor="ctr"/>
          <a:lstStyle/>
          <a:p>
            <a:endParaRPr lang="en-IN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18" name="Right Arrow 17"/>
          <p:cNvSpPr/>
          <p:nvPr/>
        </p:nvSpPr>
        <p:spPr>
          <a:xfrm rot="5400000">
            <a:off x="10377124" y="3453843"/>
            <a:ext cx="1131976" cy="216024"/>
          </a:xfrm>
          <a:prstGeom prst="rightArrow">
            <a:avLst/>
          </a:prstGeom>
          <a:solidFill>
            <a:srgbClr val="3396CE"/>
          </a:solidFill>
          <a:ln w="25400">
            <a:solidFill>
              <a:schemeClr val="accent1"/>
            </a:solidFill>
          </a:ln>
        </p:spPr>
        <p:txBody>
          <a:bodyPr wrap="none" anchor="ctr"/>
          <a:lstStyle/>
          <a:p>
            <a:endParaRPr lang="en-IN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19" name="Freeform 22"/>
          <p:cNvSpPr>
            <a:spLocks noChangeAspect="1"/>
          </p:cNvSpPr>
          <p:nvPr/>
        </p:nvSpPr>
        <p:spPr bwMode="auto">
          <a:xfrm>
            <a:off x="3501435" y="4832191"/>
            <a:ext cx="1298575" cy="1092200"/>
          </a:xfrm>
          <a:custGeom>
            <a:avLst/>
            <a:gdLst/>
            <a:ahLst/>
            <a:cxnLst>
              <a:cxn ang="0">
                <a:pos x="1130" y="153"/>
              </a:cxn>
              <a:cxn ang="0">
                <a:pos x="1047" y="197"/>
              </a:cxn>
              <a:cxn ang="0">
                <a:pos x="960" y="255"/>
              </a:cxn>
              <a:cxn ang="0">
                <a:pos x="879" y="315"/>
              </a:cxn>
              <a:cxn ang="0">
                <a:pos x="801" y="376"/>
              </a:cxn>
              <a:cxn ang="0">
                <a:pos x="700" y="472"/>
              </a:cxn>
              <a:cxn ang="0">
                <a:pos x="590" y="579"/>
              </a:cxn>
              <a:cxn ang="0">
                <a:pos x="500" y="674"/>
              </a:cxn>
              <a:cxn ang="0">
                <a:pos x="442" y="732"/>
              </a:cxn>
              <a:cxn ang="0">
                <a:pos x="393" y="784"/>
              </a:cxn>
              <a:cxn ang="0">
                <a:pos x="335" y="848"/>
              </a:cxn>
              <a:cxn ang="0">
                <a:pos x="272" y="926"/>
              </a:cxn>
              <a:cxn ang="0">
                <a:pos x="228" y="943"/>
              </a:cxn>
              <a:cxn ang="0">
                <a:pos x="208" y="888"/>
              </a:cxn>
              <a:cxn ang="0">
                <a:pos x="182" y="830"/>
              </a:cxn>
              <a:cxn ang="0">
                <a:pos x="153" y="778"/>
              </a:cxn>
              <a:cxn ang="0">
                <a:pos x="127" y="729"/>
              </a:cxn>
              <a:cxn ang="0">
                <a:pos x="95" y="668"/>
              </a:cxn>
              <a:cxn ang="0">
                <a:pos x="61" y="605"/>
              </a:cxn>
              <a:cxn ang="0">
                <a:pos x="20" y="535"/>
              </a:cxn>
              <a:cxn ang="0">
                <a:pos x="3" y="495"/>
              </a:cxn>
              <a:cxn ang="0">
                <a:pos x="34" y="460"/>
              </a:cxn>
              <a:cxn ang="0">
                <a:pos x="87" y="414"/>
              </a:cxn>
              <a:cxn ang="0">
                <a:pos x="136" y="364"/>
              </a:cxn>
              <a:cxn ang="0">
                <a:pos x="170" y="376"/>
              </a:cxn>
              <a:cxn ang="0">
                <a:pos x="199" y="437"/>
              </a:cxn>
              <a:cxn ang="0">
                <a:pos x="225" y="492"/>
              </a:cxn>
              <a:cxn ang="0">
                <a:pos x="248" y="538"/>
              </a:cxn>
              <a:cxn ang="0">
                <a:pos x="274" y="579"/>
              </a:cxn>
              <a:cxn ang="0">
                <a:pos x="303" y="651"/>
              </a:cxn>
              <a:cxn ang="0">
                <a:pos x="341" y="674"/>
              </a:cxn>
              <a:cxn ang="0">
                <a:pos x="381" y="622"/>
              </a:cxn>
              <a:cxn ang="0">
                <a:pos x="425" y="567"/>
              </a:cxn>
              <a:cxn ang="0">
                <a:pos x="468" y="515"/>
              </a:cxn>
              <a:cxn ang="0">
                <a:pos x="512" y="466"/>
              </a:cxn>
              <a:cxn ang="0">
                <a:pos x="581" y="385"/>
              </a:cxn>
              <a:cxn ang="0">
                <a:pos x="662" y="295"/>
              </a:cxn>
              <a:cxn ang="0">
                <a:pos x="737" y="214"/>
              </a:cxn>
              <a:cxn ang="0">
                <a:pos x="798" y="165"/>
              </a:cxn>
              <a:cxn ang="0">
                <a:pos x="864" y="107"/>
              </a:cxn>
              <a:cxn ang="0">
                <a:pos x="934" y="52"/>
              </a:cxn>
              <a:cxn ang="0">
                <a:pos x="1003" y="12"/>
              </a:cxn>
              <a:cxn ang="0">
                <a:pos x="1049" y="14"/>
              </a:cxn>
              <a:cxn ang="0">
                <a:pos x="1093" y="55"/>
              </a:cxn>
              <a:cxn ang="0">
                <a:pos x="1136" y="101"/>
              </a:cxn>
              <a:cxn ang="0">
                <a:pos x="1165" y="133"/>
              </a:cxn>
            </a:cxnLst>
            <a:rect l="0" t="0" r="r" b="b"/>
            <a:pathLst>
              <a:path w="1168" h="972">
                <a:moveTo>
                  <a:pt x="1168" y="139"/>
                </a:moveTo>
                <a:lnTo>
                  <a:pt x="1130" y="153"/>
                </a:lnTo>
                <a:lnTo>
                  <a:pt x="1090" y="174"/>
                </a:lnTo>
                <a:lnTo>
                  <a:pt x="1047" y="197"/>
                </a:lnTo>
                <a:lnTo>
                  <a:pt x="1003" y="226"/>
                </a:lnTo>
                <a:lnTo>
                  <a:pt x="960" y="255"/>
                </a:lnTo>
                <a:lnTo>
                  <a:pt x="919" y="283"/>
                </a:lnTo>
                <a:lnTo>
                  <a:pt x="879" y="315"/>
                </a:lnTo>
                <a:lnTo>
                  <a:pt x="841" y="341"/>
                </a:lnTo>
                <a:lnTo>
                  <a:pt x="801" y="376"/>
                </a:lnTo>
                <a:lnTo>
                  <a:pt x="752" y="419"/>
                </a:lnTo>
                <a:lnTo>
                  <a:pt x="700" y="472"/>
                </a:lnTo>
                <a:lnTo>
                  <a:pt x="645" y="524"/>
                </a:lnTo>
                <a:lnTo>
                  <a:pt x="590" y="579"/>
                </a:lnTo>
                <a:lnTo>
                  <a:pt x="541" y="631"/>
                </a:lnTo>
                <a:lnTo>
                  <a:pt x="500" y="674"/>
                </a:lnTo>
                <a:lnTo>
                  <a:pt x="468" y="706"/>
                </a:lnTo>
                <a:lnTo>
                  <a:pt x="442" y="732"/>
                </a:lnTo>
                <a:lnTo>
                  <a:pt x="419" y="758"/>
                </a:lnTo>
                <a:lnTo>
                  <a:pt x="393" y="784"/>
                </a:lnTo>
                <a:lnTo>
                  <a:pt x="364" y="813"/>
                </a:lnTo>
                <a:lnTo>
                  <a:pt x="335" y="848"/>
                </a:lnTo>
                <a:lnTo>
                  <a:pt x="306" y="882"/>
                </a:lnTo>
                <a:lnTo>
                  <a:pt x="272" y="926"/>
                </a:lnTo>
                <a:lnTo>
                  <a:pt x="234" y="972"/>
                </a:lnTo>
                <a:lnTo>
                  <a:pt x="228" y="943"/>
                </a:lnTo>
                <a:lnTo>
                  <a:pt x="220" y="917"/>
                </a:lnTo>
                <a:lnTo>
                  <a:pt x="208" y="888"/>
                </a:lnTo>
                <a:lnTo>
                  <a:pt x="196" y="859"/>
                </a:lnTo>
                <a:lnTo>
                  <a:pt x="182" y="830"/>
                </a:lnTo>
                <a:lnTo>
                  <a:pt x="167" y="804"/>
                </a:lnTo>
                <a:lnTo>
                  <a:pt x="153" y="778"/>
                </a:lnTo>
                <a:lnTo>
                  <a:pt x="141" y="755"/>
                </a:lnTo>
                <a:lnTo>
                  <a:pt x="127" y="729"/>
                </a:lnTo>
                <a:lnTo>
                  <a:pt x="113" y="700"/>
                </a:lnTo>
                <a:lnTo>
                  <a:pt x="95" y="668"/>
                </a:lnTo>
                <a:lnTo>
                  <a:pt x="78" y="636"/>
                </a:lnTo>
                <a:lnTo>
                  <a:pt x="61" y="605"/>
                </a:lnTo>
                <a:lnTo>
                  <a:pt x="40" y="570"/>
                </a:lnTo>
                <a:lnTo>
                  <a:pt x="20" y="535"/>
                </a:lnTo>
                <a:lnTo>
                  <a:pt x="0" y="503"/>
                </a:lnTo>
                <a:lnTo>
                  <a:pt x="3" y="495"/>
                </a:lnTo>
                <a:lnTo>
                  <a:pt x="17" y="480"/>
                </a:lnTo>
                <a:lnTo>
                  <a:pt x="34" y="460"/>
                </a:lnTo>
                <a:lnTo>
                  <a:pt x="61" y="437"/>
                </a:lnTo>
                <a:lnTo>
                  <a:pt x="87" y="414"/>
                </a:lnTo>
                <a:lnTo>
                  <a:pt x="113" y="388"/>
                </a:lnTo>
                <a:lnTo>
                  <a:pt x="136" y="364"/>
                </a:lnTo>
                <a:lnTo>
                  <a:pt x="153" y="344"/>
                </a:lnTo>
                <a:lnTo>
                  <a:pt x="170" y="376"/>
                </a:lnTo>
                <a:lnTo>
                  <a:pt x="185" y="408"/>
                </a:lnTo>
                <a:lnTo>
                  <a:pt x="199" y="437"/>
                </a:lnTo>
                <a:lnTo>
                  <a:pt x="214" y="466"/>
                </a:lnTo>
                <a:lnTo>
                  <a:pt x="225" y="492"/>
                </a:lnTo>
                <a:lnTo>
                  <a:pt x="240" y="515"/>
                </a:lnTo>
                <a:lnTo>
                  <a:pt x="248" y="538"/>
                </a:lnTo>
                <a:lnTo>
                  <a:pt x="260" y="555"/>
                </a:lnTo>
                <a:lnTo>
                  <a:pt x="274" y="579"/>
                </a:lnTo>
                <a:lnTo>
                  <a:pt x="286" y="610"/>
                </a:lnTo>
                <a:lnTo>
                  <a:pt x="303" y="651"/>
                </a:lnTo>
                <a:lnTo>
                  <a:pt x="321" y="697"/>
                </a:lnTo>
                <a:lnTo>
                  <a:pt x="341" y="674"/>
                </a:lnTo>
                <a:lnTo>
                  <a:pt x="361" y="648"/>
                </a:lnTo>
                <a:lnTo>
                  <a:pt x="381" y="622"/>
                </a:lnTo>
                <a:lnTo>
                  <a:pt x="405" y="593"/>
                </a:lnTo>
                <a:lnTo>
                  <a:pt x="425" y="567"/>
                </a:lnTo>
                <a:lnTo>
                  <a:pt x="445" y="541"/>
                </a:lnTo>
                <a:lnTo>
                  <a:pt x="468" y="515"/>
                </a:lnTo>
                <a:lnTo>
                  <a:pt x="488" y="492"/>
                </a:lnTo>
                <a:lnTo>
                  <a:pt x="512" y="466"/>
                </a:lnTo>
                <a:lnTo>
                  <a:pt x="543" y="428"/>
                </a:lnTo>
                <a:lnTo>
                  <a:pt x="581" y="385"/>
                </a:lnTo>
                <a:lnTo>
                  <a:pt x="621" y="338"/>
                </a:lnTo>
                <a:lnTo>
                  <a:pt x="662" y="295"/>
                </a:lnTo>
                <a:lnTo>
                  <a:pt x="702" y="252"/>
                </a:lnTo>
                <a:lnTo>
                  <a:pt x="737" y="214"/>
                </a:lnTo>
                <a:lnTo>
                  <a:pt x="769" y="188"/>
                </a:lnTo>
                <a:lnTo>
                  <a:pt x="798" y="165"/>
                </a:lnTo>
                <a:lnTo>
                  <a:pt x="830" y="136"/>
                </a:lnTo>
                <a:lnTo>
                  <a:pt x="864" y="107"/>
                </a:lnTo>
                <a:lnTo>
                  <a:pt x="899" y="81"/>
                </a:lnTo>
                <a:lnTo>
                  <a:pt x="934" y="52"/>
                </a:lnTo>
                <a:lnTo>
                  <a:pt x="968" y="29"/>
                </a:lnTo>
                <a:lnTo>
                  <a:pt x="1003" y="12"/>
                </a:lnTo>
                <a:lnTo>
                  <a:pt x="1032" y="0"/>
                </a:lnTo>
                <a:lnTo>
                  <a:pt x="1049" y="14"/>
                </a:lnTo>
                <a:lnTo>
                  <a:pt x="1070" y="32"/>
                </a:lnTo>
                <a:lnTo>
                  <a:pt x="1093" y="55"/>
                </a:lnTo>
                <a:lnTo>
                  <a:pt x="1116" y="78"/>
                </a:lnTo>
                <a:lnTo>
                  <a:pt x="1136" y="101"/>
                </a:lnTo>
                <a:lnTo>
                  <a:pt x="1154" y="121"/>
                </a:lnTo>
                <a:lnTo>
                  <a:pt x="1165" y="133"/>
                </a:lnTo>
                <a:lnTo>
                  <a:pt x="1168" y="139"/>
                </a:lnTo>
                <a:close/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IN"/>
          </a:p>
        </p:txBody>
      </p:sp>
      <p:sp>
        <p:nvSpPr>
          <p:cNvPr id="20" name="TextBox 19"/>
          <p:cNvSpPr txBox="1"/>
          <p:nvPr/>
        </p:nvSpPr>
        <p:spPr>
          <a:xfrm>
            <a:off x="2583299" y="2992431"/>
            <a:ext cx="29232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Cutting of Copper Tubes with Tube cutter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830544" y="2927514"/>
            <a:ext cx="2376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Deburring using reamer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530844" y="3112351"/>
            <a:ext cx="24482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Surface cleaning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561288" y="6160380"/>
            <a:ext cx="37749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Locking of Flare Tool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925978" y="6160380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: Flaring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738910" y="6081586"/>
            <a:ext cx="2808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g : Good  leak free Flare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0" y="16448"/>
            <a:ext cx="2655476" cy="2581279"/>
            <a:chOff x="1094659" y="3638498"/>
            <a:chExt cx="2655476" cy="2572421"/>
          </a:xfrm>
        </p:grpSpPr>
        <p:sp>
          <p:nvSpPr>
            <p:cNvPr id="27" name="Teardrop 26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8" name="Teardrop 27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9" name="Teardrop 28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0" y="671770"/>
            <a:ext cx="24674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PLING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INTS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31" name="Picture 30"/>
          <p:cNvPicPr/>
          <p:nvPr/>
        </p:nvPicPr>
        <p:blipFill rotWithShape="1">
          <a:blip r:embed="rId8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030861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larkins\Desktop\ocp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423677"/>
            <a:ext cx="5184576" cy="5753286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</p:pic>
      <p:sp>
        <p:nvSpPr>
          <p:cNvPr id="5" name="Rectangle 4"/>
          <p:cNvSpPr/>
          <p:nvPr/>
        </p:nvSpPr>
        <p:spPr>
          <a:xfrm>
            <a:off x="0" y="423677"/>
            <a:ext cx="6096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 marL="514350" indent="-514350"/>
            <a:r>
              <a:rPr lang="en-US" sz="2000" dirty="0">
                <a:solidFill>
                  <a:srgbClr val="00B050"/>
                </a:solidFill>
              </a:rPr>
              <a:t>Standard Operating procedures for Sealed system repairs</a:t>
            </a:r>
          </a:p>
          <a:p>
            <a:pPr marL="971550" lvl="1" indent="-514350">
              <a:buFont typeface="Arial" pitchFamily="34" charset="0"/>
              <a:buChar char="•"/>
            </a:pPr>
            <a:r>
              <a:rPr lang="en-US" sz="2000" dirty="0">
                <a:solidFill>
                  <a:srgbClr val="00B050"/>
                </a:solidFill>
              </a:rPr>
              <a:t>Charging by Weight</a:t>
            </a:r>
          </a:p>
          <a:p>
            <a:pPr marL="971550" lvl="1" indent="-514350">
              <a:buFont typeface="Arial" pitchFamily="34" charset="0"/>
              <a:buChar char="•"/>
            </a:pPr>
            <a:r>
              <a:rPr lang="en-US" sz="2000" dirty="0">
                <a:solidFill>
                  <a:srgbClr val="00B050"/>
                </a:solidFill>
              </a:rPr>
              <a:t>Getting vacuum below 500 Microns</a:t>
            </a:r>
          </a:p>
          <a:p>
            <a:pPr marL="971550" lvl="1" indent="-514350">
              <a:buFont typeface="Arial" pitchFamily="34" charset="0"/>
              <a:buChar char="•"/>
            </a:pPr>
            <a:r>
              <a:rPr lang="en-US" sz="2000" dirty="0">
                <a:solidFill>
                  <a:srgbClr val="00B050"/>
                </a:solidFill>
              </a:rPr>
              <a:t>Leak testing with OFDN are mandatory procedures which have to be</a:t>
            </a:r>
          </a:p>
          <a:p>
            <a:pPr marL="971550" lvl="1" indent="-514350"/>
            <a:r>
              <a:rPr lang="en-US" sz="2000" dirty="0">
                <a:solidFill>
                  <a:srgbClr val="00B050"/>
                </a:solidFill>
              </a:rPr>
              <a:t>	followed by the technicians</a:t>
            </a:r>
            <a:endParaRPr lang="en-US" sz="1600" dirty="0"/>
          </a:p>
        </p:txBody>
      </p:sp>
      <p:pic>
        <p:nvPicPr>
          <p:cNvPr id="6" name="Picture 2" descr="F:\BHASKAR FINAL TRAINING MATERIAL\R290 pjt\GIZ\pic\DSC0075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67100" y="3346458"/>
            <a:ext cx="2224082" cy="296544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885498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867724"/>
            <a:ext cx="10515600" cy="4351338"/>
          </a:xfrm>
        </p:spPr>
        <p:txBody>
          <a:bodyPr/>
          <a:lstStyle/>
          <a:p>
            <a:pPr marL="514350" indent="-51435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onitoring Failures</a:t>
            </a:r>
          </a:p>
          <a:p>
            <a:pPr marL="514350" indent="-51435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onitoring  weekly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epeat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ailure technician wise</a:t>
            </a:r>
          </a:p>
          <a:p>
            <a:pPr marL="514350" indent="-51435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field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ilure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re reported to design and manufacturing and discussed in the Cross Functional Meetings on weekly basis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0" y="16448"/>
            <a:ext cx="2655476" cy="2581279"/>
            <a:chOff x="1094659" y="3638498"/>
            <a:chExt cx="2655476" cy="2572421"/>
          </a:xfrm>
        </p:grpSpPr>
        <p:sp>
          <p:nvSpPr>
            <p:cNvPr id="5" name="Teardrop 4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6" name="Teardrop 5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7" name="Teardrop 6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0" y="671770"/>
            <a:ext cx="24674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TY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S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9800844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-1023215" y="696331"/>
            <a:ext cx="39604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HOT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 SUMER 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THIS YEAR</a:t>
            </a:r>
          </a:p>
        </p:txBody>
      </p:sp>
      <p:grpSp>
        <p:nvGrpSpPr>
          <p:cNvPr id="10" name="Group 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368300" y="0"/>
            <a:ext cx="368300" cy="1676400"/>
            <a:chOff x="-480" y="0"/>
            <a:chExt cx="528" cy="2400"/>
          </a:xfrm>
        </p:grpSpPr>
        <p:sp>
          <p:nvSpPr>
            <p:cNvPr id="11" name="Rectangle 6"/>
            <p:cNvSpPr>
              <a:spLocks noChangeArrowheads="1"/>
            </p:cNvSpPr>
            <p:nvPr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8"/>
            <p:cNvSpPr>
              <a:spLocks noChangeArrowheads="1"/>
            </p:cNvSpPr>
            <p:nvPr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107421" y="184055"/>
            <a:ext cx="6121512" cy="6217920"/>
            <a:chOff x="12002" y="0"/>
            <a:chExt cx="2655476" cy="2572421"/>
          </a:xfrm>
        </p:grpSpPr>
        <p:sp>
          <p:nvSpPr>
            <p:cNvPr id="21" name="Teardrop 20"/>
            <p:cNvSpPr/>
            <p:nvPr/>
          </p:nvSpPr>
          <p:spPr>
            <a:xfrm flipH="1">
              <a:off x="12002" y="0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2" name="Teardrop 21"/>
            <p:cNvSpPr/>
            <p:nvPr/>
          </p:nvSpPr>
          <p:spPr>
            <a:xfrm flipH="1">
              <a:off x="84803" y="78410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3" name="Teardrop 22"/>
            <p:cNvSpPr/>
            <p:nvPr/>
          </p:nvSpPr>
          <p:spPr>
            <a:xfrm flipH="1">
              <a:off x="140874" y="126116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96177" y="1492346"/>
            <a:ext cx="9144000" cy="2387600"/>
          </a:xfrm>
        </p:spPr>
        <p:txBody>
          <a:bodyPr>
            <a:normAutofit/>
          </a:bodyPr>
          <a:lstStyle/>
          <a:p>
            <a:pPr eaLnBrk="0" fontAlgn="base" hangingPunct="0">
              <a:spcAft>
                <a:spcPct val="0"/>
              </a:spcAft>
              <a:defRPr/>
            </a:pPr>
            <a:r>
              <a:rPr lang="en-GB" sz="3600" kern="0" dirty="0">
                <a:solidFill>
                  <a:schemeClr val="bg1"/>
                </a:solidFill>
                <a:latin typeface="Arial" pitchFamily="34" charset="0"/>
                <a:ea typeface="ＭＳ Ｐゴシック" pitchFamily="-111" charset="-128"/>
                <a:cs typeface="Arial" pitchFamily="34" charset="0"/>
              </a:rPr>
              <a:t>International Experiences</a:t>
            </a:r>
            <a:br>
              <a:rPr lang="en-GB" sz="3600" kern="0" dirty="0">
                <a:solidFill>
                  <a:schemeClr val="bg1"/>
                </a:solidFill>
                <a:latin typeface="Arial" pitchFamily="34" charset="0"/>
                <a:ea typeface="ＭＳ Ｐゴシック" pitchFamily="-111" charset="-128"/>
                <a:cs typeface="Arial" pitchFamily="34" charset="0"/>
              </a:rPr>
            </a:br>
            <a:r>
              <a:rPr lang="en-GB" sz="3600" kern="0" dirty="0">
                <a:solidFill>
                  <a:schemeClr val="bg1"/>
                </a:solidFill>
                <a:latin typeface="Arial" pitchFamily="34" charset="0"/>
                <a:ea typeface="ＭＳ Ｐゴシック" pitchFamily="-111" charset="-128"/>
                <a:cs typeface="Arial" pitchFamily="34" charset="0"/>
              </a:rPr>
              <a:t>with the use of</a:t>
            </a:r>
            <a:br>
              <a:rPr lang="en-GB" sz="3600" kern="0" dirty="0">
                <a:solidFill>
                  <a:schemeClr val="bg1"/>
                </a:solidFill>
                <a:latin typeface="Arial" pitchFamily="34" charset="0"/>
                <a:ea typeface="ＭＳ Ｐゴシック" pitchFamily="-111" charset="-128"/>
                <a:cs typeface="Arial" pitchFamily="34" charset="0"/>
              </a:rPr>
            </a:br>
            <a:r>
              <a:rPr lang="en-GB" sz="3600" kern="0" dirty="0">
                <a:solidFill>
                  <a:schemeClr val="bg1"/>
                </a:solidFill>
                <a:latin typeface="Arial" pitchFamily="34" charset="0"/>
                <a:ea typeface="ＭＳ Ｐゴシック" pitchFamily="-111" charset="-128"/>
                <a:cs typeface="Arial" pitchFamily="34" charset="0"/>
              </a:rPr>
              <a:t>Hydrocarbon Refrigerants </a:t>
            </a:r>
            <a:endParaRPr lang="en-GB" sz="3600" b="1" kern="0" dirty="0">
              <a:solidFill>
                <a:schemeClr val="bg1"/>
              </a:solidFill>
              <a:latin typeface="Arial" pitchFamily="34" charset="0"/>
              <a:ea typeface="ＭＳ Ｐゴシック" pitchFamily="-111" charset="-128"/>
              <a:cs typeface="Arial" pitchFamily="34" charset="0"/>
            </a:endParaRPr>
          </a:p>
        </p:txBody>
      </p:sp>
      <p:pic>
        <p:nvPicPr>
          <p:cNvPr id="15" name="Picture 14"/>
          <p:cNvPicPr/>
          <p:nvPr/>
        </p:nvPicPr>
        <p:blipFill rotWithShape="1">
          <a:blip r:embed="rId3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790448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1881158" y="500043"/>
            <a:ext cx="878684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3000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  <a:p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738282" y="214291"/>
            <a:ext cx="87154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2670104" y="214291"/>
            <a:ext cx="9393023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itchFamily="34" charset="0"/>
                <a:cs typeface="Arial" pitchFamily="34" charset="0"/>
              </a:rPr>
              <a:t>Success of HCs in domestics can be extrapolated to other applications/systems &gt;&gt; </a:t>
            </a:r>
            <a:r>
              <a:rPr lang="en-US" sz="2800" i="1" dirty="0">
                <a:latin typeface="Arial" pitchFamily="34" charset="0"/>
                <a:cs typeface="Arial" pitchFamily="34" charset="0"/>
              </a:rPr>
              <a:t>Only minor technical hurdles, knowledge transfer, trai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800" i="1" dirty="0">
              <a:latin typeface="Arial" pitchFamily="34" charset="0"/>
              <a:cs typeface="Arial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itchFamily="34" charset="0"/>
                <a:cs typeface="Arial" pitchFamily="34" charset="0"/>
              </a:rPr>
              <a:t>Safety an issue in some systems with some alternatives &gt;&gt; </a:t>
            </a:r>
            <a:r>
              <a:rPr lang="en-US" sz="2800" i="1" dirty="0">
                <a:latin typeface="Arial" pitchFamily="34" charset="0"/>
                <a:cs typeface="Arial" pitchFamily="34" charset="0"/>
              </a:rPr>
              <a:t>Safety standards, codes and experience used to overcome this</a:t>
            </a:r>
          </a:p>
          <a:p>
            <a:endParaRPr lang="en-US" sz="2800" i="1" dirty="0">
              <a:latin typeface="Arial" pitchFamily="34" charset="0"/>
              <a:cs typeface="Arial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itchFamily="34" charset="0"/>
                <a:cs typeface="Arial" pitchFamily="34" charset="0"/>
              </a:rPr>
              <a:t>More and more products becoming available with HCs &gt;&gt; </a:t>
            </a:r>
            <a:r>
              <a:rPr lang="en-US" sz="2800" i="1" dirty="0">
                <a:latin typeface="Arial" pitchFamily="34" charset="0"/>
                <a:cs typeface="Arial" pitchFamily="34" charset="0"/>
              </a:rPr>
              <a:t>Product cost is rarely higher than HFC products</a:t>
            </a:r>
          </a:p>
          <a:p>
            <a:endParaRPr lang="en-US" sz="2800" i="1" dirty="0">
              <a:latin typeface="Arial" pitchFamily="34" charset="0"/>
              <a:cs typeface="Arial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itchFamily="34" charset="0"/>
                <a:cs typeface="Arial" pitchFamily="34" charset="0"/>
              </a:rPr>
              <a:t>Many end-users are demanding natural refrigerants &gt;&gt; </a:t>
            </a:r>
            <a:r>
              <a:rPr lang="en-US" sz="2800" i="1" dirty="0">
                <a:latin typeface="Arial" pitchFamily="34" charset="0"/>
                <a:cs typeface="Arial" pitchFamily="34" charset="0"/>
              </a:rPr>
              <a:t>Feedback is that there is insufficient product availability and vari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800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16448"/>
            <a:ext cx="2655476" cy="2572421"/>
            <a:chOff x="1094659" y="3638498"/>
            <a:chExt cx="2655476" cy="2572421"/>
          </a:xfrm>
        </p:grpSpPr>
        <p:sp>
          <p:nvSpPr>
            <p:cNvPr id="8" name="Teardrop 7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9" name="Teardrop 8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0" name="Teardrop 9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652252" y="543677"/>
            <a:ext cx="112562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RDS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YE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</a:p>
        </p:txBody>
      </p:sp>
    </p:spTree>
    <p:extLst>
      <p:ext uri="{BB962C8B-B14F-4D97-AF65-F5344CB8AC3E}">
        <p14:creationId xmlns:p14="http://schemas.microsoft.com/office/powerpoint/2010/main" val="7655031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221500" y="215412"/>
            <a:ext cx="6608300" cy="6476334"/>
            <a:chOff x="9339949" y="464009"/>
            <a:chExt cx="2655476" cy="2572421"/>
          </a:xfrm>
        </p:grpSpPr>
        <p:sp>
          <p:nvSpPr>
            <p:cNvPr id="4" name="Teardrop 3"/>
            <p:cNvSpPr/>
            <p:nvPr/>
          </p:nvSpPr>
          <p:spPr>
            <a:xfrm flipH="1">
              <a:off x="9339949" y="464009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5" name="Teardrop 4"/>
            <p:cNvSpPr/>
            <p:nvPr/>
          </p:nvSpPr>
          <p:spPr>
            <a:xfrm flipH="1">
              <a:off x="9412750" y="542419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6" name="Teardrop 5"/>
            <p:cNvSpPr/>
            <p:nvPr/>
          </p:nvSpPr>
          <p:spPr>
            <a:xfrm flipH="1">
              <a:off x="9468821" y="590125"/>
              <a:ext cx="2398357" cy="2312697"/>
            </a:xfrm>
            <a:prstGeom prst="teardrop">
              <a:avLst/>
            </a:prstGeom>
            <a:solidFill>
              <a:srgbClr val="8CB133"/>
            </a:solidFill>
            <a:ln w="25400">
              <a:solidFill>
                <a:srgbClr val="92D050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7850" y="2448858"/>
            <a:ext cx="105156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22100" b="1" dirty="0">
                <a:solidFill>
                  <a:schemeClr val="bg1"/>
                </a:solidFill>
                <a:cs typeface="Arial" panose="020B0604020202020204" pitchFamily="34" charset="0"/>
              </a:rPr>
              <a:t>0</a:t>
            </a:r>
            <a: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4900" b="1" dirty="0">
                <a:solidFill>
                  <a:schemeClr val="bg1"/>
                </a:solidFill>
                <a:cs typeface="Arial" panose="020B0604020202020204" pitchFamily="34" charset="0"/>
              </a:rPr>
              <a:t>ACCIDENTS </a:t>
            </a:r>
            <a:r>
              <a:rPr lang="en-US" sz="49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DUE </a:t>
            </a:r>
            <a:br>
              <a:rPr lang="en-US" sz="4900" b="1" dirty="0" smtClean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49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TO THE USE OF</a:t>
            </a:r>
            <a:br>
              <a:rPr lang="en-US" sz="4900" b="1" dirty="0" smtClean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49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R 290</a:t>
            </a:r>
            <a:endParaRPr lang="en-US" sz="40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7" name="Picture 6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611169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221500" y="215412"/>
            <a:ext cx="6608300" cy="6476334"/>
            <a:chOff x="9339949" y="464009"/>
            <a:chExt cx="2655476" cy="2572421"/>
          </a:xfrm>
        </p:grpSpPr>
        <p:sp>
          <p:nvSpPr>
            <p:cNvPr id="4" name="Teardrop 3"/>
            <p:cNvSpPr/>
            <p:nvPr/>
          </p:nvSpPr>
          <p:spPr>
            <a:xfrm flipH="1">
              <a:off x="9339949" y="464009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5" name="Teardrop 4"/>
            <p:cNvSpPr/>
            <p:nvPr/>
          </p:nvSpPr>
          <p:spPr>
            <a:xfrm flipH="1">
              <a:off x="9412750" y="542419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6" name="Teardrop 5"/>
            <p:cNvSpPr/>
            <p:nvPr/>
          </p:nvSpPr>
          <p:spPr>
            <a:xfrm flipH="1">
              <a:off x="9468821" y="590125"/>
              <a:ext cx="2398357" cy="2312697"/>
            </a:xfrm>
            <a:prstGeom prst="teardrop">
              <a:avLst/>
            </a:prstGeom>
            <a:solidFill>
              <a:srgbClr val="8CB133"/>
            </a:solidFill>
            <a:ln w="25400">
              <a:solidFill>
                <a:srgbClr val="92D050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591" y="2344948"/>
            <a:ext cx="5903592" cy="1325563"/>
          </a:xfrm>
        </p:spPr>
        <p:txBody>
          <a:bodyPr>
            <a:normAutofit fontScale="90000"/>
          </a:bodyPr>
          <a:lstStyle/>
          <a:p>
            <a: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altLang="en-US" sz="4000" b="1" dirty="0">
                <a:solidFill>
                  <a:schemeClr val="bg1"/>
                </a:solidFill>
                <a:cs typeface="Arial" panose="020B0604020202020204" pitchFamily="34" charset="0"/>
              </a:rPr>
              <a:t>BENEFITS OF PROPANE(R290) </a:t>
            </a:r>
            <a:br>
              <a:rPr lang="en-US" altLang="en-US" sz="4000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altLang="en-US" sz="4000" b="1" dirty="0">
                <a:solidFill>
                  <a:schemeClr val="bg1"/>
                </a:solidFill>
                <a:cs typeface="Arial" panose="020B0604020202020204" pitchFamily="34" charset="0"/>
              </a:rPr>
              <a:t>OVER OTHER REFRIGERANTS</a:t>
            </a:r>
            <a:r>
              <a:rPr lang="en-IN" altLang="en-US" sz="4000" b="1" dirty="0">
                <a:solidFill>
                  <a:srgbClr val="00B050"/>
                </a:solidFill>
              </a:rPr>
              <a:t/>
            </a:r>
            <a:br>
              <a:rPr lang="en-IN" altLang="en-US" sz="4000" b="1" dirty="0">
                <a:solidFill>
                  <a:srgbClr val="00B050"/>
                </a:solidFill>
              </a:rPr>
            </a:br>
            <a:endParaRPr lang="en-US" sz="40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7" name="Picture 6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7905952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020167"/>
              </p:ext>
            </p:extLst>
          </p:nvPr>
        </p:nvGraphicFramePr>
        <p:xfrm>
          <a:off x="374073" y="1239325"/>
          <a:ext cx="11475029" cy="3291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81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0141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9544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9500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29500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401196">
                <a:tc>
                  <a:txBody>
                    <a:bodyPr/>
                    <a:lstStyle/>
                    <a:p>
                      <a:endParaRPr lang="en-US" sz="2400" dirty="0"/>
                    </a:p>
                    <a:p>
                      <a:endParaRPr lang="en-US" sz="2400" dirty="0"/>
                    </a:p>
                    <a:p>
                      <a:endParaRPr lang="en-US" sz="2400" dirty="0"/>
                    </a:p>
                    <a:p>
                      <a:r>
                        <a:rPr lang="en-US" sz="2400" dirty="0"/>
                        <a:t>Refrigerants</a:t>
                      </a:r>
                      <a:endParaRPr lang="en-IN" sz="2400" dirty="0"/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Viscosity at 35° C</a:t>
                      </a:r>
                      <a:r>
                        <a:rPr lang="en-US" sz="2400" baseline="0" dirty="0"/>
                        <a:t> liquid (Pa/s)</a:t>
                      </a:r>
                      <a:endParaRPr lang="en-IN" sz="2400" dirty="0"/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iscosity at</a:t>
                      </a:r>
                      <a:r>
                        <a:rPr kumimoji="0" lang="en-US" sz="24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en-US" sz="2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       -20° C Vapour (Pa/s)</a:t>
                      </a:r>
                      <a:endParaRPr kumimoji="0" lang="en-IN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IN" sz="2400" dirty="0"/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en-US" sz="2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hermal Conductivity at 35° C liquid (</a:t>
                      </a:r>
                      <a:r>
                        <a:rPr kumimoji="0" lang="en-US" sz="24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W</a:t>
                      </a:r>
                      <a:r>
                        <a:rPr kumimoji="0" lang="en-US" sz="2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en-US" sz="24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k</a:t>
                      </a:r>
                      <a:r>
                        <a:rPr kumimoji="0" lang="en-US" sz="2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IN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en-US" sz="2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hermal Conductivity at -20 ° C vapour</a:t>
                      </a:r>
                      <a:endParaRPr kumimoji="0" lang="en-IN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22005"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22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1.7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.75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2.1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9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2005">
                <a:tc>
                  <a:txBody>
                    <a:bodyPr/>
                    <a:lstStyle/>
                    <a:p>
                      <a:pPr algn="ctr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290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7.19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07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9.2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.38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22005">
                <a:tc>
                  <a:txBody>
                    <a:bodyPr/>
                    <a:lstStyle/>
                    <a:p>
                      <a:pPr algn="ctr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600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4.6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dirty="0"/>
                        <a:t>6.32</a:t>
                      </a:r>
                      <a:endParaRPr lang="en-IN" sz="3200" b="0" dirty="0"/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8.9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3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.93</a:t>
                      </a:r>
                      <a:endParaRPr kumimoji="0" lang="en-IN" sz="3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2" marB="4571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2259" name="TextBox 3"/>
          <p:cNvSpPr txBox="1">
            <a:spLocks noChangeArrowheads="1"/>
          </p:cNvSpPr>
          <p:nvPr/>
        </p:nvSpPr>
        <p:spPr bwMode="auto">
          <a:xfrm>
            <a:off x="202623" y="4531101"/>
            <a:ext cx="11817928" cy="3231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altLang="en-US" sz="1400" dirty="0"/>
              <a:t> </a:t>
            </a:r>
            <a:r>
              <a:rPr lang="en-US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 290 has lower viscosity and higher thermal conductivity compared to that of CFC and HCF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These superior transport properties are believed to contribute to the higher energy efficiency of hydrocarbons vis-a vis- CFCs and </a:t>
            </a:r>
            <a:r>
              <a:rPr lang="en-US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HCFCs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290 reduces energy consumption by about 15% </a:t>
            </a:r>
            <a:r>
              <a:rPr lang="en-US" alt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pared </a:t>
            </a:r>
            <a:r>
              <a:rPr lang="en-US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to similar R22 product</a:t>
            </a:r>
          </a:p>
          <a:p>
            <a:pPr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endParaRPr lang="en-US" altLang="en-US" sz="1400" dirty="0"/>
          </a:p>
          <a:p>
            <a:pPr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pPr>
              <a:buFont typeface="Arial" panose="020B0604020202020204" pitchFamily="34" charset="0"/>
              <a:buChar char="•"/>
            </a:pPr>
            <a:endParaRPr lang="en-IN" alt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0" y="16448"/>
            <a:ext cx="2368330" cy="2352679"/>
            <a:chOff x="1094659" y="3638498"/>
            <a:chExt cx="2655476" cy="2572421"/>
          </a:xfrm>
        </p:grpSpPr>
        <p:sp>
          <p:nvSpPr>
            <p:cNvPr id="6" name="Teardrop 5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7" name="Teardrop 6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8" name="Teardrop 7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64436" y="604246"/>
            <a:ext cx="223945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 PROPERTIES OF R290</a:t>
            </a:r>
            <a:endParaRPr lang="en-IN" alt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691821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1703513" y="260648"/>
            <a:ext cx="2988319" cy="609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120000"/>
              </a:lnSpc>
            </a:pPr>
            <a:r>
              <a:rPr lang="en-US" sz="2800" b="1" dirty="0">
                <a:solidFill>
                  <a:schemeClr val="bg1"/>
                </a:solidFill>
                <a:latin typeface="Book Antiqua" pitchFamily="18" charset="0"/>
              </a:rPr>
              <a:t>GVTS MODULE</a:t>
            </a:r>
            <a:endParaRPr lang="en-US" sz="2800" dirty="0">
              <a:solidFill>
                <a:schemeClr val="bg1"/>
              </a:solidFill>
              <a:latin typeface="Book Antiqua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3899" y="565347"/>
            <a:ext cx="11600597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VTS (Godrej Vocational Training School)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Module is a Non financial collaboration with NGO’s, Organizations, Educational Institute and ASP’s  where Godrej Acts as a Knowledge Partner.</a:t>
            </a:r>
          </a:p>
          <a:p>
            <a:endParaRPr lang="en-US" dirty="0"/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s a Knowledge Partner Godrej Provides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Arial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Training of Partner Trainers (15 days of training at Mumbai)</a:t>
            </a:r>
          </a:p>
          <a:p>
            <a:pPr lvl="1">
              <a:buFont typeface="Arial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Arial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Provide Course content and training Material for trainers</a:t>
            </a:r>
          </a:p>
          <a:p>
            <a:pPr lvl="1">
              <a:buFont typeface="Arial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Arial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Provide GVTS Book and Other Stationary to Students</a:t>
            </a:r>
          </a:p>
          <a:p>
            <a:pPr lvl="1">
              <a:buFont typeface="Arial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Arial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Conduct Final Examination (Written, Practical and Viva)</a:t>
            </a:r>
          </a:p>
          <a:p>
            <a:pPr lvl="1">
              <a:buFont typeface="Arial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Arial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Certifying the Passed out students</a:t>
            </a:r>
          </a:p>
          <a:p>
            <a:endParaRPr lang="en-US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08263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1703512" y="260648"/>
            <a:ext cx="5753498" cy="609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120000"/>
              </a:lnSpc>
            </a:pPr>
            <a:r>
              <a:rPr lang="en-US" sz="2800" b="1" dirty="0">
                <a:solidFill>
                  <a:schemeClr val="bg1"/>
                </a:solidFill>
                <a:latin typeface="Book Antiqua" pitchFamily="18" charset="0"/>
              </a:rPr>
              <a:t>GVTS PARTNERSHIP PROCESS</a:t>
            </a:r>
            <a:endParaRPr lang="en-US" sz="2800" dirty="0">
              <a:solidFill>
                <a:schemeClr val="bg1"/>
              </a:solidFill>
              <a:latin typeface="Book Antiqua" pitchFamily="18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657525453"/>
              </p:ext>
            </p:extLst>
          </p:nvPr>
        </p:nvGraphicFramePr>
        <p:xfrm>
          <a:off x="1364777" y="1282890"/>
          <a:ext cx="10017456" cy="44355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13160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5507787" y="2948609"/>
            <a:ext cx="1401813" cy="1222655"/>
          </a:xfrm>
          <a:prstGeom prst="ellipse">
            <a:avLst/>
          </a:prstGeom>
          <a:solidFill>
            <a:srgbClr val="8CB133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ea typeface="ヒラギノ角ゴ Pro W3"/>
                <a:cs typeface="ヒラギノ角ゴ Pro W3"/>
              </a:rPr>
              <a:t>R 290</a:t>
            </a:r>
          </a:p>
        </p:txBody>
      </p:sp>
      <p:grpSp>
        <p:nvGrpSpPr>
          <p:cNvPr id="11" name="Group 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368300" y="0"/>
            <a:ext cx="368300" cy="1676400"/>
            <a:chOff x="-480" y="0"/>
            <a:chExt cx="528" cy="2400"/>
          </a:xfrm>
        </p:grpSpPr>
        <p:sp>
          <p:nvSpPr>
            <p:cNvPr id="12" name="Rectangle 6"/>
            <p:cNvSpPr>
              <a:spLocks noChangeArrowheads="1"/>
            </p:cNvSpPr>
            <p:nvPr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 rot="2758893" flipH="1" flipV="1">
            <a:off x="5015234" y="53650"/>
            <a:ext cx="2429059" cy="2289288"/>
            <a:chOff x="1094659" y="3638498"/>
            <a:chExt cx="2655476" cy="2572421"/>
          </a:xfrm>
        </p:grpSpPr>
        <p:sp>
          <p:nvSpPr>
            <p:cNvPr id="17" name="Teardrop 16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8" name="Teardrop 17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9" name="Teardrop 18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 sz="23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218363" y="4076313"/>
            <a:ext cx="2655476" cy="2572421"/>
            <a:chOff x="6260219" y="460815"/>
            <a:chExt cx="2655476" cy="2572421"/>
          </a:xfrm>
        </p:grpSpPr>
        <p:sp>
          <p:nvSpPr>
            <p:cNvPr id="21" name="Teardrop 20"/>
            <p:cNvSpPr/>
            <p:nvPr/>
          </p:nvSpPr>
          <p:spPr>
            <a:xfrm flipH="1">
              <a:off x="6260219" y="460815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2" name="Teardrop 21"/>
            <p:cNvSpPr/>
            <p:nvPr/>
          </p:nvSpPr>
          <p:spPr>
            <a:xfrm flipH="1">
              <a:off x="6333020" y="539225"/>
              <a:ext cx="2510498" cy="2416134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3" name="Teardrop 22"/>
            <p:cNvSpPr/>
            <p:nvPr/>
          </p:nvSpPr>
          <p:spPr>
            <a:xfrm flipH="1">
              <a:off x="6378711" y="590676"/>
              <a:ext cx="2398357" cy="2312697"/>
            </a:xfrm>
            <a:prstGeom prst="teardrop">
              <a:avLst/>
            </a:prstGeom>
            <a:solidFill>
              <a:srgbClr val="C01F63"/>
            </a:solidFill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defRPr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ed in the </a:t>
              </a:r>
            </a:p>
            <a:p>
              <a:pPr algn="ctr">
                <a:defRPr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st efficient </a:t>
              </a:r>
            </a:p>
            <a:p>
              <a:pPr algn="ctr">
                <a:defRPr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ances in Europe </a:t>
              </a:r>
            </a:p>
            <a:p>
              <a:pPr algn="ctr">
                <a:defRPr/>
              </a:pPr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st few </a:t>
              </a:r>
            </a:p>
            <a:p>
              <a:pPr algn="ctr">
                <a:defRPr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s resulted </a:t>
              </a:r>
            </a:p>
            <a:p>
              <a:pPr algn="ctr">
                <a:defRPr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a significant</a:t>
              </a:r>
            </a:p>
            <a:p>
              <a:pPr algn="ctr">
                <a:defRPr/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mpact</a:t>
              </a:r>
            </a:p>
            <a:p>
              <a:pPr algn="ctr">
                <a:defRPr/>
              </a:pPr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 flipH="1" flipV="1">
            <a:off x="175042" y="184055"/>
            <a:ext cx="2763962" cy="2685060"/>
            <a:chOff x="9339949" y="464009"/>
            <a:chExt cx="2655476" cy="2572421"/>
          </a:xfrm>
        </p:grpSpPr>
        <p:sp>
          <p:nvSpPr>
            <p:cNvPr id="25" name="Teardrop 24"/>
            <p:cNvSpPr/>
            <p:nvPr/>
          </p:nvSpPr>
          <p:spPr>
            <a:xfrm flipH="1">
              <a:off x="9339949" y="464009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6" name="Teardrop 25"/>
            <p:cNvSpPr/>
            <p:nvPr/>
          </p:nvSpPr>
          <p:spPr>
            <a:xfrm flipH="1">
              <a:off x="9412750" y="542419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7" name="Teardrop 26"/>
            <p:cNvSpPr/>
            <p:nvPr/>
          </p:nvSpPr>
          <p:spPr>
            <a:xfrm flipH="1">
              <a:off x="9468821" y="590125"/>
              <a:ext cx="2398357" cy="2312697"/>
            </a:xfrm>
            <a:prstGeom prst="teardrop">
              <a:avLst/>
            </a:prstGeom>
            <a:solidFill>
              <a:srgbClr val="8CB133"/>
            </a:solidFill>
            <a:ln w="25400">
              <a:solidFill>
                <a:srgbClr val="92D050"/>
              </a:solidFill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 flipH="1">
            <a:off x="308528" y="4154723"/>
            <a:ext cx="2736298" cy="2572421"/>
            <a:chOff x="9339949" y="464009"/>
            <a:chExt cx="2655476" cy="2572421"/>
          </a:xfrm>
        </p:grpSpPr>
        <p:sp>
          <p:nvSpPr>
            <p:cNvPr id="33" name="Teardrop 32"/>
            <p:cNvSpPr/>
            <p:nvPr/>
          </p:nvSpPr>
          <p:spPr>
            <a:xfrm flipH="1">
              <a:off x="9339949" y="464009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34" name="Teardrop 33"/>
            <p:cNvSpPr/>
            <p:nvPr/>
          </p:nvSpPr>
          <p:spPr>
            <a:xfrm flipH="1">
              <a:off x="9412750" y="542419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35" name="Teardrop 34"/>
            <p:cNvSpPr/>
            <p:nvPr/>
          </p:nvSpPr>
          <p:spPr>
            <a:xfrm flipH="1">
              <a:off x="9468821" y="590125"/>
              <a:ext cx="2398357" cy="2312697"/>
            </a:xfrm>
            <a:prstGeom prst="teardrop">
              <a:avLst/>
            </a:prstGeom>
            <a:solidFill>
              <a:srgbClr val="8CB133"/>
            </a:solidFill>
            <a:ln w="25400">
              <a:solidFill>
                <a:srgbClr val="92D050"/>
              </a:solidFill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flipV="1">
            <a:off x="9218363" y="184055"/>
            <a:ext cx="2839330" cy="2764554"/>
            <a:chOff x="6260219" y="460815"/>
            <a:chExt cx="2655476" cy="2572421"/>
          </a:xfrm>
        </p:grpSpPr>
        <p:sp>
          <p:nvSpPr>
            <p:cNvPr id="37" name="Teardrop 36"/>
            <p:cNvSpPr/>
            <p:nvPr/>
          </p:nvSpPr>
          <p:spPr>
            <a:xfrm flipH="1">
              <a:off x="6260219" y="460815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38" name="Teardrop 37"/>
            <p:cNvSpPr/>
            <p:nvPr/>
          </p:nvSpPr>
          <p:spPr>
            <a:xfrm flipH="1">
              <a:off x="6333020" y="539225"/>
              <a:ext cx="2510498" cy="2416134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39" name="Teardrop 38"/>
            <p:cNvSpPr/>
            <p:nvPr/>
          </p:nvSpPr>
          <p:spPr>
            <a:xfrm flipH="1">
              <a:off x="6389091" y="586931"/>
              <a:ext cx="2398357" cy="2312697"/>
            </a:xfrm>
            <a:prstGeom prst="teardrop">
              <a:avLst/>
            </a:prstGeom>
            <a:solidFill>
              <a:srgbClr val="C01F63"/>
            </a:solidFill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pPr algn="ctr">
                <a:defRPr/>
              </a:pPr>
              <a:endPara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644236" y="871728"/>
            <a:ext cx="180801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ro ODP 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zone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pletion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tial)</a:t>
            </a:r>
          </a:p>
          <a:p>
            <a:endParaRPr lang="en-US" dirty="0"/>
          </a:p>
        </p:txBody>
      </p:sp>
      <p:sp>
        <p:nvSpPr>
          <p:cNvPr id="44" name="Rectangle 43"/>
          <p:cNvSpPr/>
          <p:nvPr/>
        </p:nvSpPr>
        <p:spPr>
          <a:xfrm>
            <a:off x="3179167" y="612215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st GWP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Global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ming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tial)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4" name="Group 53"/>
          <p:cNvGrpSpPr/>
          <p:nvPr/>
        </p:nvGrpSpPr>
        <p:grpSpPr>
          <a:xfrm rot="2758893">
            <a:off x="5137497" y="4746299"/>
            <a:ext cx="2204627" cy="2145005"/>
            <a:chOff x="1094659" y="3638498"/>
            <a:chExt cx="2655476" cy="2572421"/>
          </a:xfrm>
        </p:grpSpPr>
        <p:sp>
          <p:nvSpPr>
            <p:cNvPr id="55" name="Teardrop 54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56" name="Teardrop 55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57" name="Teardrop 56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 sz="23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62" name="Rectangle 61"/>
          <p:cNvSpPr/>
          <p:nvPr/>
        </p:nvSpPr>
        <p:spPr>
          <a:xfrm>
            <a:off x="3179167" y="5298968"/>
            <a:ext cx="6096000" cy="96949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lent </a:t>
            </a:r>
          </a:p>
          <a:p>
            <a:pPr algn="ctr"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modynamic </a:t>
            </a:r>
          </a:p>
          <a:p>
            <a:pPr algn="ctr"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</a:p>
        </p:txBody>
      </p:sp>
      <p:sp>
        <p:nvSpPr>
          <p:cNvPr id="63" name="Rectangle 62"/>
          <p:cNvSpPr/>
          <p:nvPr/>
        </p:nvSpPr>
        <p:spPr>
          <a:xfrm>
            <a:off x="7498101" y="720547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A SNAP</a:t>
            </a:r>
          </a:p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ignificant New</a:t>
            </a:r>
          </a:p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ternatives</a:t>
            </a:r>
          </a:p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licy) </a:t>
            </a:r>
          </a:p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ed 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06271" y="4514138"/>
            <a:ext cx="283649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charges</a:t>
            </a:r>
          </a:p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wing smaller</a:t>
            </a:r>
          </a:p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at exchangers</a:t>
            </a:r>
          </a:p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piping </a:t>
            </a:r>
          </a:p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ensions making it</a:t>
            </a:r>
          </a:p>
          <a:p>
            <a:pPr algn="ctr">
              <a:defRPr/>
            </a:pP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efficient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0320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1703513" y="260648"/>
            <a:ext cx="6309741" cy="609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120000"/>
              </a:lnSpc>
            </a:pPr>
            <a:r>
              <a:rPr lang="en-US" sz="2800" b="1" dirty="0">
                <a:solidFill>
                  <a:schemeClr val="bg1"/>
                </a:solidFill>
                <a:latin typeface="Book Antiqua" pitchFamily="18" charset="0"/>
              </a:rPr>
              <a:t>GVTS PARTNERSHIP STRUCTURE</a:t>
            </a:r>
            <a:endParaRPr lang="en-US" sz="2800" dirty="0">
              <a:solidFill>
                <a:schemeClr val="bg1"/>
              </a:solidFill>
              <a:latin typeface="Book Antiqua" pitchFamily="18" charset="0"/>
            </a:endParaRPr>
          </a:p>
        </p:txBody>
      </p:sp>
      <p:graphicFrame>
        <p:nvGraphicFramePr>
          <p:cNvPr id="3" name="Diagram 2"/>
          <p:cNvGraphicFramePr/>
          <p:nvPr/>
        </p:nvGraphicFramePr>
        <p:xfrm>
          <a:off x="1847528" y="1052736"/>
          <a:ext cx="8640960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4642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1981200" y="188640"/>
            <a:ext cx="82296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>
                <a:solidFill>
                  <a:srgbClr val="FFFFFF"/>
                </a:solidFill>
                <a:latin typeface="Calibri" pitchFamily="34" charset="0"/>
                <a:ea typeface="+mj-ea"/>
                <a:cs typeface="Calibri" pitchFamily="34" charset="0"/>
              </a:rPr>
              <a:t>COURSE DESIGN</a:t>
            </a:r>
            <a:endParaRPr lang="en-IN" sz="2800" b="1" kern="0" dirty="0">
              <a:solidFill>
                <a:srgbClr val="FFFFFF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  <p:graphicFrame>
        <p:nvGraphicFramePr>
          <p:cNvPr id="4" name="Diagram 3"/>
          <p:cNvGraphicFramePr/>
          <p:nvPr/>
        </p:nvGraphicFramePr>
        <p:xfrm>
          <a:off x="2111896" y="980728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1847528" y="1628800"/>
            <a:ext cx="4248472" cy="432048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articipation of Collaborative GVTS and Students</a:t>
            </a:r>
            <a:endParaRPr lang="en-IN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528048" y="4221089"/>
            <a:ext cx="21742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ducted By Godrej</a:t>
            </a:r>
          </a:p>
          <a:p>
            <a:r>
              <a:rPr lang="en-US" dirty="0"/>
              <a:t> Branch Trainers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8688288" y="1268760"/>
            <a:ext cx="1800200" cy="47525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Vocational Training</a:t>
            </a:r>
          </a:p>
          <a:p>
            <a:pPr algn="ctr"/>
            <a:endParaRPr lang="en-US" sz="2400" dirty="0"/>
          </a:p>
          <a:p>
            <a:pPr algn="ctr"/>
            <a:endParaRPr lang="en-US" sz="2400" dirty="0"/>
          </a:p>
          <a:p>
            <a:pPr algn="ctr"/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Proficiency Certificate</a:t>
            </a:r>
          </a:p>
          <a:p>
            <a:pPr algn="ctr"/>
            <a:endParaRPr lang="en-US" sz="2400" dirty="0"/>
          </a:p>
          <a:p>
            <a:pPr algn="ctr"/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Issued By Godrej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2024215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051507692"/>
              </p:ext>
            </p:extLst>
          </p:nvPr>
        </p:nvGraphicFramePr>
        <p:xfrm>
          <a:off x="1775520" y="836713"/>
          <a:ext cx="8496944" cy="5635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 bwMode="gray">
          <a:xfrm>
            <a:off x="1981200" y="188640"/>
            <a:ext cx="82296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>
                <a:solidFill>
                  <a:srgbClr val="FFFFFF"/>
                </a:solidFill>
                <a:latin typeface="Calibri" pitchFamily="34" charset="0"/>
                <a:ea typeface="+mj-ea"/>
                <a:cs typeface="Calibri" pitchFamily="34" charset="0"/>
              </a:rPr>
              <a:t>COURSE CONTENT</a:t>
            </a:r>
            <a:endParaRPr lang="en-IN" sz="2800" b="1" kern="0" dirty="0">
              <a:solidFill>
                <a:srgbClr val="FFFFFF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664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R &amp; AC Nagpur\Photos\PA09041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59496" y="1484784"/>
            <a:ext cx="3960440" cy="3240360"/>
          </a:xfrm>
          <a:prstGeom prst="rect">
            <a:avLst/>
          </a:prstGeom>
          <a:noFill/>
        </p:spPr>
      </p:pic>
      <p:pic>
        <p:nvPicPr>
          <p:cNvPr id="1028" name="Picture 4" descr="E:\R &amp; AC Nagpur\Photos\Students of Montfort doing R&amp;AC practicals under GVTS - 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59580" y="3356992"/>
            <a:ext cx="3744733" cy="2808312"/>
          </a:xfrm>
          <a:prstGeom prst="rect">
            <a:avLst/>
          </a:prstGeom>
          <a:noFill/>
        </p:spPr>
      </p:pic>
      <p:sp>
        <p:nvSpPr>
          <p:cNvPr id="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631504" y="256382"/>
            <a:ext cx="7571184" cy="868363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2800" b="1" dirty="0">
                <a:solidFill>
                  <a:schemeClr val="bg1"/>
                </a:solidFill>
              </a:rPr>
              <a:t>Model Center – MIEC, Nagpur</a:t>
            </a:r>
            <a:endParaRPr lang="en-IN" sz="28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691910" y="6165304"/>
            <a:ext cx="4940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Guest lectures and practical's conducted by Godrej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gray">
          <a:xfrm rot="5400000">
            <a:off x="7788370" y="2004683"/>
            <a:ext cx="3364033" cy="2180220"/>
          </a:xfrm>
          <a:prstGeom prst="roundRect">
            <a:avLst>
              <a:gd name="adj" fmla="val 19894"/>
            </a:avLst>
          </a:prstGeom>
          <a:gradFill rotWithShape="1">
            <a:gsLst>
              <a:gs pos="0">
                <a:srgbClr val="F8F8F8">
                  <a:gamma/>
                  <a:shade val="77647"/>
                  <a:invGamma/>
                  <a:alpha val="98000"/>
                </a:srgbClr>
              </a:gs>
              <a:gs pos="50000">
                <a:srgbClr val="F8F8F8"/>
              </a:gs>
              <a:gs pos="100000">
                <a:srgbClr val="F8F8F8">
                  <a:gamma/>
                  <a:shade val="77647"/>
                  <a:invGamma/>
                  <a:alpha val="98000"/>
                </a:srgbClr>
              </a:gs>
            </a:gsLst>
            <a:lin ang="5400000" scaled="1"/>
          </a:gradFill>
          <a:ln w="38100" algn="ctr">
            <a:solidFill>
              <a:srgbClr val="808080"/>
            </a:solidFill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>
              <a:defRPr/>
            </a:pPr>
            <a:endParaRPr lang="en-IN" kern="0">
              <a:solidFill>
                <a:sysClr val="windowText" lastClr="000000"/>
              </a:solidFill>
            </a:endParaRPr>
          </a:p>
        </p:txBody>
      </p:sp>
      <p:grpSp>
        <p:nvGrpSpPr>
          <p:cNvPr id="2" name="Group 6"/>
          <p:cNvGrpSpPr/>
          <p:nvPr/>
        </p:nvGrpSpPr>
        <p:grpSpPr>
          <a:xfrm>
            <a:off x="8789050" y="3396568"/>
            <a:ext cx="1300760" cy="1299004"/>
            <a:chOff x="1477963" y="2518296"/>
            <a:chExt cx="1176337" cy="1174750"/>
          </a:xfrm>
        </p:grpSpPr>
        <p:pic>
          <p:nvPicPr>
            <p:cNvPr id="13" name="Picture 10" descr="LB_circle001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1477963" y="2518296"/>
              <a:ext cx="1176337" cy="1174750"/>
            </a:xfrm>
            <a:prstGeom prst="rect">
              <a:avLst/>
            </a:prstGeom>
            <a:noFill/>
          </p:spPr>
        </p:pic>
        <p:sp>
          <p:nvSpPr>
            <p:cNvPr id="14" name="Text Box 12"/>
            <p:cNvSpPr txBox="1">
              <a:spLocks noChangeArrowheads="1"/>
            </p:cNvSpPr>
            <p:nvPr/>
          </p:nvSpPr>
          <p:spPr bwMode="auto">
            <a:xfrm>
              <a:off x="1552517" y="2992397"/>
              <a:ext cx="1021542" cy="22864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70000"/>
                </a:lnSpc>
                <a:spcBef>
                  <a:spcPct val="50000"/>
                </a:spcBef>
                <a:defRPr/>
              </a:pPr>
              <a:r>
                <a:rPr lang="en-US" sz="1400" b="1" kern="0" dirty="0">
                  <a:solidFill>
                    <a:srgbClr val="FF0000"/>
                  </a:solidFill>
                  <a:latin typeface="Calibri" pitchFamily="34" charset="0"/>
                  <a:cs typeface="Calibri" pitchFamily="34" charset="0"/>
                </a:rPr>
                <a:t>1</a:t>
              </a:r>
              <a:r>
                <a:rPr lang="en-US" sz="1400" b="1" kern="0" baseline="30000" dirty="0">
                  <a:solidFill>
                    <a:srgbClr val="FF0000"/>
                  </a:solidFill>
                  <a:latin typeface="Calibri" pitchFamily="34" charset="0"/>
                  <a:cs typeface="Calibri" pitchFamily="34" charset="0"/>
                </a:rPr>
                <a:t>st</a:t>
              </a:r>
              <a:r>
                <a:rPr lang="en-US" sz="1400" b="1" kern="0" dirty="0">
                  <a:solidFill>
                    <a:srgbClr val="FF0000"/>
                  </a:solidFill>
                  <a:latin typeface="Calibri" pitchFamily="34" charset="0"/>
                  <a:cs typeface="Calibri" pitchFamily="34" charset="0"/>
                </a:rPr>
                <a:t> batch</a:t>
              </a:r>
              <a:endParaRPr lang="en-IN" sz="1400" b="1" kern="0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pic>
        <p:nvPicPr>
          <p:cNvPr id="15" name="Picture 14" descr="O_chevron001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 rot="10800000">
            <a:off x="9199320" y="2967490"/>
            <a:ext cx="456406" cy="401986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8400256" y="1628801"/>
            <a:ext cx="2088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>
                    <a:lumMod val="10000"/>
                  </a:schemeClr>
                </a:solidFill>
                <a:latin typeface="Calibri" pitchFamily="34" charset="0"/>
                <a:cs typeface="Calibri" pitchFamily="34" charset="0"/>
              </a:rPr>
              <a:t>46 students attended training in first batch</a:t>
            </a:r>
          </a:p>
          <a:p>
            <a:r>
              <a:rPr lang="en-US" sz="2000" b="1" dirty="0">
                <a:solidFill>
                  <a:schemeClr val="bg2">
                    <a:lumMod val="1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en-IN" sz="2000" b="1" dirty="0">
              <a:solidFill>
                <a:schemeClr val="bg2">
                  <a:lumMod val="1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669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1703513" y="298260"/>
            <a:ext cx="8229023" cy="466445"/>
          </a:xfrm>
          <a:prstGeom prst="rect">
            <a:avLst/>
          </a:prstGeom>
          <a:ln/>
        </p:spPr>
        <p:txBody>
          <a:bodyPr>
            <a:noAutofit/>
          </a:bodyPr>
          <a:lstStyle/>
          <a:p>
            <a:pPr>
              <a:tabLst>
                <a:tab pos="0" algn="l"/>
                <a:tab pos="913183" algn="l"/>
                <a:tab pos="1827791" algn="l"/>
                <a:tab pos="2742399" algn="l"/>
                <a:tab pos="3657006" algn="l"/>
                <a:tab pos="4571614" algn="l"/>
                <a:tab pos="5486222" algn="l"/>
                <a:tab pos="6400829" algn="l"/>
                <a:tab pos="7315437" algn="l"/>
                <a:tab pos="8230045" algn="l"/>
                <a:tab pos="9144652" algn="l"/>
              </a:tabLst>
            </a:pPr>
            <a:r>
              <a:rPr lang="en-US" sz="2800" b="1" dirty="0"/>
              <a:t>Future Plans</a:t>
            </a:r>
            <a:endParaRPr lang="en-IN" sz="2800" b="1" i="1" dirty="0"/>
          </a:p>
        </p:txBody>
      </p:sp>
      <p:graphicFrame>
        <p:nvGraphicFramePr>
          <p:cNvPr id="25" name="Table 24"/>
          <p:cNvGraphicFramePr>
            <a:graphicFrameLocks noGrp="1"/>
          </p:cNvGraphicFramePr>
          <p:nvPr/>
        </p:nvGraphicFramePr>
        <p:xfrm>
          <a:off x="1919536" y="1484786"/>
          <a:ext cx="5904656" cy="4420376"/>
        </p:xfrm>
        <a:graphic>
          <a:graphicData uri="http://schemas.openxmlformats.org/drawingml/2006/table">
            <a:tbl>
              <a:tblPr/>
              <a:tblGrid>
                <a:gridCol w="30158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8883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7071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ar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rget</a:t>
                      </a:r>
                      <a:r>
                        <a:rPr lang="en-US" sz="1600" b="1" i="0" u="none" strike="noStrike" baseline="0" dirty="0">
                          <a:solidFill>
                            <a:srgbClr val="000000"/>
                          </a:solidFill>
                          <a:latin typeface="Calibri"/>
                        </a:rPr>
                        <a:t> Plan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12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 dirty="0">
                          <a:solidFill>
                            <a:srgbClr val="00B050"/>
                          </a:solidFill>
                          <a:latin typeface="Calibri"/>
                        </a:rPr>
                        <a:t>2211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3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86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4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510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5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423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6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573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7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022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8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847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9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148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20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046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14966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>
                          <a:solidFill>
                            <a:srgbClr val="FF0000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59566</a:t>
                      </a:r>
                    </a:p>
                  </a:txBody>
                  <a:tcPr marL="9236" marR="9236" marT="9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2050" name="Picture 2" descr="C:\Users\larkins\Desktop\Presentations\future images\Bulb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68208" y="1988840"/>
            <a:ext cx="2621028" cy="36724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73465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221500" y="215412"/>
            <a:ext cx="6608300" cy="6476334"/>
            <a:chOff x="9339949" y="464009"/>
            <a:chExt cx="2655476" cy="2572421"/>
          </a:xfrm>
        </p:grpSpPr>
        <p:sp>
          <p:nvSpPr>
            <p:cNvPr id="4" name="Teardrop 3"/>
            <p:cNvSpPr/>
            <p:nvPr/>
          </p:nvSpPr>
          <p:spPr>
            <a:xfrm flipH="1">
              <a:off x="9339949" y="464009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5" name="Teardrop 4"/>
            <p:cNvSpPr/>
            <p:nvPr/>
          </p:nvSpPr>
          <p:spPr>
            <a:xfrm flipH="1">
              <a:off x="9412750" y="542419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6" name="Teardrop 5"/>
            <p:cNvSpPr/>
            <p:nvPr/>
          </p:nvSpPr>
          <p:spPr>
            <a:xfrm flipH="1">
              <a:off x="9468821" y="590125"/>
              <a:ext cx="2398357" cy="2312697"/>
            </a:xfrm>
            <a:prstGeom prst="teardrop">
              <a:avLst/>
            </a:prstGeom>
            <a:solidFill>
              <a:srgbClr val="8CB133"/>
            </a:solidFill>
            <a:ln w="25400">
              <a:solidFill>
                <a:srgbClr val="92D050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7338" y="1472112"/>
            <a:ext cx="5822462" cy="3203798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YOU READY TO JOIN US ON THIS GREEN JOURNEY?</a:t>
            </a:r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544126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51934" y="5602448"/>
            <a:ext cx="357181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GREEN benchmarks for </a:t>
            </a:r>
          </a:p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industry including :</a:t>
            </a:r>
          </a:p>
        </p:txBody>
      </p:sp>
      <p:sp>
        <p:nvSpPr>
          <p:cNvPr id="8" name="Rectangle 7"/>
          <p:cNvSpPr/>
          <p:nvPr/>
        </p:nvSpPr>
        <p:spPr>
          <a:xfrm>
            <a:off x="151934" y="2558698"/>
            <a:ext cx="419060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 collaboration with the German Federal Ministry,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Godrej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is the only brand that uses R290 refrigerant, thus making our ACs the most energy-efficient and the greenest.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0" y="16448"/>
            <a:ext cx="2655476" cy="2572421"/>
            <a:chOff x="1094659" y="3638498"/>
            <a:chExt cx="2655476" cy="2572421"/>
          </a:xfrm>
        </p:grpSpPr>
        <p:sp>
          <p:nvSpPr>
            <p:cNvPr id="10" name="Teardrop 9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1" name="Teardrop 10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2" name="Teardrop 11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51934" y="647541"/>
            <a:ext cx="246745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</a:p>
          <a:p>
            <a:pPr algn="ctr"/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URNEY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Picture 13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9344428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 flipH="1">
            <a:off x="4699746" y="3674797"/>
            <a:ext cx="3143302" cy="3087415"/>
            <a:chOff x="6260219" y="460815"/>
            <a:chExt cx="2655476" cy="2572421"/>
          </a:xfrm>
        </p:grpSpPr>
        <p:sp>
          <p:nvSpPr>
            <p:cNvPr id="17" name="Teardrop 16"/>
            <p:cNvSpPr/>
            <p:nvPr/>
          </p:nvSpPr>
          <p:spPr>
            <a:xfrm flipH="1">
              <a:off x="6260219" y="460815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8" name="Teardrop 17"/>
            <p:cNvSpPr/>
            <p:nvPr/>
          </p:nvSpPr>
          <p:spPr>
            <a:xfrm flipH="1">
              <a:off x="6333020" y="539225"/>
              <a:ext cx="2510498" cy="2416134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9" name="Teardrop 18"/>
            <p:cNvSpPr/>
            <p:nvPr/>
          </p:nvSpPr>
          <p:spPr>
            <a:xfrm flipH="1">
              <a:off x="6389091" y="586931"/>
              <a:ext cx="2398357" cy="2312697"/>
            </a:xfrm>
            <a:prstGeom prst="teardrop">
              <a:avLst/>
            </a:prstGeom>
            <a:solidFill>
              <a:srgbClr val="C01F63"/>
            </a:solidFill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4699746" y="275146"/>
            <a:ext cx="3137787" cy="3064821"/>
            <a:chOff x="175042" y="184055"/>
            <a:chExt cx="2763962" cy="2685060"/>
          </a:xfrm>
        </p:grpSpPr>
        <p:grpSp>
          <p:nvGrpSpPr>
            <p:cNvPr id="8" name="Group 7"/>
            <p:cNvGrpSpPr/>
            <p:nvPr/>
          </p:nvGrpSpPr>
          <p:grpSpPr>
            <a:xfrm flipH="1" flipV="1">
              <a:off x="175042" y="184055"/>
              <a:ext cx="2763962" cy="2685060"/>
              <a:chOff x="9339949" y="464009"/>
              <a:chExt cx="2655476" cy="2572421"/>
            </a:xfrm>
          </p:grpSpPr>
          <p:sp>
            <p:nvSpPr>
              <p:cNvPr id="9" name="Teardrop 8"/>
              <p:cNvSpPr/>
              <p:nvPr/>
            </p:nvSpPr>
            <p:spPr>
              <a:xfrm flipH="1">
                <a:off x="9339949" y="464009"/>
                <a:ext cx="2655476" cy="2572421"/>
              </a:xfrm>
              <a:prstGeom prst="teardrop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  <p:sp>
            <p:nvSpPr>
              <p:cNvPr id="10" name="Teardrop 9"/>
              <p:cNvSpPr/>
              <p:nvPr/>
            </p:nvSpPr>
            <p:spPr>
              <a:xfrm flipH="1">
                <a:off x="9412750" y="542419"/>
                <a:ext cx="2510498" cy="2416134"/>
              </a:xfrm>
              <a:prstGeom prst="teardrop">
                <a:avLst/>
              </a:prstGeom>
              <a:noFill/>
              <a:ln w="25400">
                <a:solidFill>
                  <a:srgbClr val="CC0066"/>
                </a:solidFill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  <p:sp>
            <p:nvSpPr>
              <p:cNvPr id="11" name="Teardrop 10"/>
              <p:cNvSpPr/>
              <p:nvPr/>
            </p:nvSpPr>
            <p:spPr>
              <a:xfrm flipH="1">
                <a:off x="9468821" y="590125"/>
                <a:ext cx="2398357" cy="2312697"/>
              </a:xfrm>
              <a:prstGeom prst="teardrop">
                <a:avLst/>
              </a:prstGeom>
              <a:solidFill>
                <a:srgbClr val="8CB133"/>
              </a:solidFill>
              <a:ln w="25400">
                <a:solidFill>
                  <a:srgbClr val="92D050"/>
                </a:solidFill>
              </a:ln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</p:grpSp>
        <p:sp>
          <p:nvSpPr>
            <p:cNvPr id="2" name="Rectangle 1"/>
            <p:cNvSpPr/>
            <p:nvPr/>
          </p:nvSpPr>
          <p:spPr>
            <a:xfrm>
              <a:off x="402012" y="1143084"/>
              <a:ext cx="2309369" cy="11324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unch of the first green refrigerator in India (2001-02)</a:t>
              </a:r>
              <a:endParaRPr lang="en-US" sz="2000" dirty="0">
                <a:solidFill>
                  <a:schemeClr val="bg1"/>
                </a:solidFill>
              </a:endParaRPr>
            </a:p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 flipV="1">
            <a:off x="8461486" y="364433"/>
            <a:ext cx="3143632" cy="2975534"/>
            <a:chOff x="1094659" y="3638498"/>
            <a:chExt cx="2655476" cy="2572421"/>
          </a:xfrm>
        </p:grpSpPr>
        <p:sp>
          <p:nvSpPr>
            <p:cNvPr id="21" name="Teardrop 20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2" name="Teardrop 21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3" name="Teardrop 22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 flipH="1" flipV="1">
            <a:off x="8461486" y="3674797"/>
            <a:ext cx="3143632" cy="3087415"/>
            <a:chOff x="175042" y="184055"/>
            <a:chExt cx="2763962" cy="2685060"/>
          </a:xfrm>
        </p:grpSpPr>
        <p:grpSp>
          <p:nvGrpSpPr>
            <p:cNvPr id="29" name="Group 28"/>
            <p:cNvGrpSpPr/>
            <p:nvPr/>
          </p:nvGrpSpPr>
          <p:grpSpPr>
            <a:xfrm flipH="1" flipV="1">
              <a:off x="175042" y="184055"/>
              <a:ext cx="2763962" cy="2685060"/>
              <a:chOff x="9339949" y="464009"/>
              <a:chExt cx="2655476" cy="2572421"/>
            </a:xfrm>
          </p:grpSpPr>
          <p:sp>
            <p:nvSpPr>
              <p:cNvPr id="31" name="Teardrop 30"/>
              <p:cNvSpPr/>
              <p:nvPr/>
            </p:nvSpPr>
            <p:spPr>
              <a:xfrm flipH="1">
                <a:off x="9339949" y="464009"/>
                <a:ext cx="2655476" cy="2572421"/>
              </a:xfrm>
              <a:prstGeom prst="teardrop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  <p:sp>
            <p:nvSpPr>
              <p:cNvPr id="32" name="Teardrop 31"/>
              <p:cNvSpPr/>
              <p:nvPr/>
            </p:nvSpPr>
            <p:spPr>
              <a:xfrm flipH="1">
                <a:off x="9412750" y="542419"/>
                <a:ext cx="2510498" cy="2416134"/>
              </a:xfrm>
              <a:prstGeom prst="teardrop">
                <a:avLst/>
              </a:prstGeom>
              <a:noFill/>
              <a:ln w="25400">
                <a:solidFill>
                  <a:srgbClr val="CC0066"/>
                </a:solidFill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  <p:sp>
            <p:nvSpPr>
              <p:cNvPr id="33" name="Teardrop 32"/>
              <p:cNvSpPr/>
              <p:nvPr/>
            </p:nvSpPr>
            <p:spPr>
              <a:xfrm flipH="1">
                <a:off x="9468821" y="590125"/>
                <a:ext cx="2398357" cy="2312697"/>
              </a:xfrm>
              <a:prstGeom prst="teardrop">
                <a:avLst/>
              </a:prstGeom>
              <a:solidFill>
                <a:srgbClr val="8CB133"/>
              </a:solidFill>
              <a:ln w="25400">
                <a:solidFill>
                  <a:srgbClr val="92D050"/>
                </a:solidFill>
              </a:ln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endParaRPr>
              </a:p>
            </p:txBody>
          </p:sp>
        </p:grpSp>
        <p:sp>
          <p:nvSpPr>
            <p:cNvPr id="30" name="Rectangle 29"/>
            <p:cNvSpPr/>
            <p:nvPr/>
          </p:nvSpPr>
          <p:spPr>
            <a:xfrm>
              <a:off x="402012" y="2114546"/>
              <a:ext cx="2309369" cy="3212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Rectangle 33"/>
          <p:cNvSpPr/>
          <p:nvPr/>
        </p:nvSpPr>
        <p:spPr>
          <a:xfrm>
            <a:off x="8614049" y="1470934"/>
            <a:ext cx="261196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rst 5 star range of DC refrigerators (2008) 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948262" y="4728522"/>
            <a:ext cx="194353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green AC in the world (2012)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055695" y="4244512"/>
            <a:ext cx="275434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a’s first 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 with      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-star 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 (EER : 3.9)</a:t>
            </a:r>
          </a:p>
          <a:p>
            <a:pPr lvl="0" algn="ctr"/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a’s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Inverter AC with R290 </a:t>
            </a:r>
            <a:endParaRPr lang="en-US" sz="20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SEER : 5.8) 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51934" y="5602448"/>
            <a:ext cx="357181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GREEN benchmarks for </a:t>
            </a:r>
          </a:p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industry including :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51934" y="2558698"/>
            <a:ext cx="419060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 collaboration with the German Federal Ministry,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Godrej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is the only brand that uses R290 refrigerant, thus making our ACs the most energy-efficient and the greenest.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0" y="16448"/>
            <a:ext cx="2655476" cy="2572421"/>
            <a:chOff x="1094659" y="3638498"/>
            <a:chExt cx="2655476" cy="2572421"/>
          </a:xfrm>
        </p:grpSpPr>
        <p:sp>
          <p:nvSpPr>
            <p:cNvPr id="46" name="Teardrop 45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47" name="Teardrop 46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48" name="Teardrop 47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151934" y="647541"/>
            <a:ext cx="246745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</a:p>
          <a:p>
            <a:pPr algn="ctr"/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URNEY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0" name="Arrow: Right 49"/>
          <p:cNvSpPr/>
          <p:nvPr/>
        </p:nvSpPr>
        <p:spPr>
          <a:xfrm>
            <a:off x="7949893" y="1765925"/>
            <a:ext cx="445216" cy="415637"/>
          </a:xfrm>
          <a:prstGeom prst="rightArrow">
            <a:avLst/>
          </a:prstGeom>
          <a:solidFill>
            <a:srgbClr val="8CB133"/>
          </a:solidFill>
          <a:ln w="25400">
            <a:solidFill>
              <a:srgbClr val="92D050"/>
            </a:solidFill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51" name="Arrow: Right 50"/>
          <p:cNvSpPr/>
          <p:nvPr/>
        </p:nvSpPr>
        <p:spPr>
          <a:xfrm rot="5400000">
            <a:off x="9516086" y="3267047"/>
            <a:ext cx="445216" cy="415637"/>
          </a:xfrm>
          <a:prstGeom prst="rightArrow">
            <a:avLst/>
          </a:prstGeom>
          <a:solidFill>
            <a:srgbClr val="3396CE"/>
          </a:solidFill>
          <a:ln w="25400">
            <a:solidFill>
              <a:schemeClr val="accent1"/>
            </a:solidFill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52" name="Arrow: Right 51"/>
          <p:cNvSpPr/>
          <p:nvPr/>
        </p:nvSpPr>
        <p:spPr>
          <a:xfrm rot="10800000">
            <a:off x="7868478" y="4542438"/>
            <a:ext cx="445216" cy="415637"/>
          </a:xfrm>
          <a:prstGeom prst="rightArrow">
            <a:avLst/>
          </a:prstGeom>
          <a:solidFill>
            <a:srgbClr val="C01F63"/>
          </a:solidFill>
          <a:ln w="25400">
            <a:solidFill>
              <a:srgbClr val="CC0066"/>
            </a:solidFill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076570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221500" y="215412"/>
            <a:ext cx="6608300" cy="6476334"/>
            <a:chOff x="9339949" y="464009"/>
            <a:chExt cx="2655476" cy="2572421"/>
          </a:xfrm>
        </p:grpSpPr>
        <p:sp>
          <p:nvSpPr>
            <p:cNvPr id="4" name="Teardrop 3"/>
            <p:cNvSpPr/>
            <p:nvPr/>
          </p:nvSpPr>
          <p:spPr>
            <a:xfrm flipH="1">
              <a:off x="9339949" y="464009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5" name="Teardrop 4"/>
            <p:cNvSpPr/>
            <p:nvPr/>
          </p:nvSpPr>
          <p:spPr>
            <a:xfrm flipH="1">
              <a:off x="9412750" y="542419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6" name="Teardrop 5"/>
            <p:cNvSpPr/>
            <p:nvPr/>
          </p:nvSpPr>
          <p:spPr>
            <a:xfrm flipH="1">
              <a:off x="9468821" y="590125"/>
              <a:ext cx="2398357" cy="2312697"/>
            </a:xfrm>
            <a:prstGeom prst="teardrop">
              <a:avLst/>
            </a:prstGeom>
            <a:solidFill>
              <a:srgbClr val="8CB133"/>
            </a:solidFill>
            <a:ln w="25400">
              <a:solidFill>
                <a:srgbClr val="92D050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163" y="2358141"/>
            <a:ext cx="5000642" cy="1325563"/>
          </a:xfrm>
        </p:spPr>
        <p:txBody>
          <a:bodyPr>
            <a:normAutofit fontScale="90000"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</a:t>
            </a:r>
            <a: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 :</a:t>
            </a: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5 </a:t>
            </a: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kh </a:t>
            </a:r>
            <a: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lations</a:t>
            </a:r>
            <a:b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IANS BASE :</a:t>
            </a:r>
            <a:b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b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4500 </a:t>
            </a: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</p:txBody>
      </p:sp>
      <p:pic>
        <p:nvPicPr>
          <p:cNvPr id="7" name="Picture 6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3119145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-1023215" y="696331"/>
            <a:ext cx="39604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HOT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 SUMER 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THIS YEAR</a:t>
            </a:r>
          </a:p>
        </p:txBody>
      </p:sp>
      <p:grpSp>
        <p:nvGrpSpPr>
          <p:cNvPr id="10" name="Group 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368300" y="0"/>
            <a:ext cx="368300" cy="1676400"/>
            <a:chOff x="-480" y="0"/>
            <a:chExt cx="528" cy="2400"/>
          </a:xfrm>
        </p:grpSpPr>
        <p:sp>
          <p:nvSpPr>
            <p:cNvPr id="11" name="Rectangle 6"/>
            <p:cNvSpPr>
              <a:spLocks noChangeArrowheads="1"/>
            </p:cNvSpPr>
            <p:nvPr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8"/>
            <p:cNvSpPr>
              <a:spLocks noChangeArrowheads="1"/>
            </p:cNvSpPr>
            <p:nvPr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defRPr/>
              </a:pPr>
              <a:endParaRPr lang="en-IN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107421" y="184055"/>
            <a:ext cx="6121512" cy="6217920"/>
            <a:chOff x="12002" y="0"/>
            <a:chExt cx="2655476" cy="2572421"/>
          </a:xfrm>
        </p:grpSpPr>
        <p:sp>
          <p:nvSpPr>
            <p:cNvPr id="21" name="Teardrop 20"/>
            <p:cNvSpPr/>
            <p:nvPr/>
          </p:nvSpPr>
          <p:spPr>
            <a:xfrm flipH="1">
              <a:off x="12002" y="0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2" name="Teardrop 21"/>
            <p:cNvSpPr/>
            <p:nvPr/>
          </p:nvSpPr>
          <p:spPr>
            <a:xfrm flipH="1">
              <a:off x="84803" y="78410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23" name="Teardrop 22"/>
            <p:cNvSpPr/>
            <p:nvPr/>
          </p:nvSpPr>
          <p:spPr>
            <a:xfrm flipH="1">
              <a:off x="140874" y="126116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96177" y="1734973"/>
            <a:ext cx="9144000" cy="2387600"/>
          </a:xfrm>
        </p:spPr>
        <p:txBody>
          <a:bodyPr>
            <a:normAutofit/>
          </a:bodyPr>
          <a:lstStyle/>
          <a:p>
            <a:pPr lvl="0"/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RESSING THE</a:t>
            </a:r>
            <a:b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ING NEEDS</a:t>
            </a:r>
            <a:b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R290 ACs</a:t>
            </a:r>
          </a:p>
        </p:txBody>
      </p:sp>
      <p:pic>
        <p:nvPicPr>
          <p:cNvPr id="15" name="Picture 14"/>
          <p:cNvPicPr/>
          <p:nvPr/>
        </p:nvPicPr>
        <p:blipFill rotWithShape="1">
          <a:blip r:embed="rId3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659732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3435065"/>
              </p:ext>
            </p:extLst>
          </p:nvPr>
        </p:nvGraphicFramePr>
        <p:xfrm>
          <a:off x="2995611" y="1021705"/>
          <a:ext cx="8285019" cy="54355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513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3370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62641">
                <a:tc>
                  <a:txBody>
                    <a:bodyPr/>
                    <a:lstStyle/>
                    <a:p>
                      <a:r>
                        <a:rPr lang="en-US" sz="2400" dirty="0"/>
                        <a:t>Refrigerants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ASHRAE safety designation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5492">
                <a:tc>
                  <a:txBody>
                    <a:bodyPr/>
                    <a:lstStyle/>
                    <a:p>
                      <a:r>
                        <a:rPr lang="en-US" sz="2400" dirty="0"/>
                        <a:t>R</a:t>
                      </a:r>
                      <a:r>
                        <a:rPr lang="en-US" sz="2400" baseline="0" dirty="0"/>
                        <a:t> 290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    A3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95492">
                <a:tc>
                  <a:txBody>
                    <a:bodyPr/>
                    <a:lstStyle/>
                    <a:p>
                      <a:r>
                        <a:rPr lang="en-US" sz="2400" dirty="0"/>
                        <a:t>R22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    A1 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95492">
                <a:tc>
                  <a:txBody>
                    <a:bodyPr/>
                    <a:lstStyle/>
                    <a:p>
                      <a:r>
                        <a:rPr lang="en-US" sz="2400" dirty="0"/>
                        <a:t>R134a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    A1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95492">
                <a:tc>
                  <a:txBody>
                    <a:bodyPr/>
                    <a:lstStyle/>
                    <a:p>
                      <a:r>
                        <a:rPr lang="en-US" sz="2400" dirty="0"/>
                        <a:t>R410A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    A1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95492">
                <a:tc>
                  <a:txBody>
                    <a:bodyPr/>
                    <a:lstStyle/>
                    <a:p>
                      <a:r>
                        <a:rPr lang="en-US" sz="2400" dirty="0"/>
                        <a:t>R417A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    A1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95492">
                <a:tc>
                  <a:txBody>
                    <a:bodyPr/>
                    <a:lstStyle/>
                    <a:p>
                      <a:r>
                        <a:rPr lang="en-US" sz="2400" dirty="0"/>
                        <a:t>R407C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     A1</a:t>
                      </a:r>
                      <a:endParaRPr lang="en-IN" sz="2400" dirty="0"/>
                    </a:p>
                  </a:txBody>
                  <a:tcPr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5" name="Oval 4"/>
          <p:cNvSpPr/>
          <p:nvPr/>
        </p:nvSpPr>
        <p:spPr>
          <a:xfrm>
            <a:off x="2610716" y="1451674"/>
            <a:ext cx="8864403" cy="1059873"/>
          </a:xfrm>
          <a:prstGeom prst="ellipse">
            <a:avLst/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  <p:grpSp>
        <p:nvGrpSpPr>
          <p:cNvPr id="6" name="Group 5"/>
          <p:cNvGrpSpPr/>
          <p:nvPr/>
        </p:nvGrpSpPr>
        <p:grpSpPr>
          <a:xfrm>
            <a:off x="0" y="16448"/>
            <a:ext cx="2743200" cy="2602061"/>
            <a:chOff x="1094659" y="3638498"/>
            <a:chExt cx="2655476" cy="2572421"/>
          </a:xfrm>
        </p:grpSpPr>
        <p:sp>
          <p:nvSpPr>
            <p:cNvPr id="7" name="Teardrop 6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8" name="Teardrop 7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9" name="Teardrop 8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0" name="TextBox 3"/>
          <p:cNvSpPr txBox="1">
            <a:spLocks noChangeArrowheads="1"/>
          </p:cNvSpPr>
          <p:nvPr/>
        </p:nvSpPr>
        <p:spPr bwMode="auto">
          <a:xfrm>
            <a:off x="133129" y="1021705"/>
            <a:ext cx="22860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AMABILITY</a:t>
            </a:r>
            <a:endParaRPr lang="en-IN" alt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/>
          <p:nvPr/>
        </p:nvPicPr>
        <p:blipFill rotWithShape="1">
          <a:blip r:embed="rId2"/>
          <a:srcRect l="25000" t="4277" r="24999" b="70950"/>
          <a:stretch/>
        </p:blipFill>
        <p:spPr bwMode="auto">
          <a:xfrm>
            <a:off x="9191805" y="0"/>
            <a:ext cx="3000195" cy="8717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511740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:\Users\larkins\Desktop\sl.png"/>
          <p:cNvPicPr>
            <a:picLocks noChangeAspect="1" noChangeArrowheads="1"/>
          </p:cNvPicPr>
          <p:nvPr/>
        </p:nvPicPr>
        <p:blipFill rotWithShape="1">
          <a:blip r:embed="rId2" cstate="print"/>
          <a:srcRect l="622" t="55993" r="520" b="19500"/>
          <a:stretch/>
        </p:blipFill>
        <p:spPr bwMode="auto">
          <a:xfrm>
            <a:off x="2884074" y="3076205"/>
            <a:ext cx="9148598" cy="1713105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0205089"/>
              </p:ext>
            </p:extLst>
          </p:nvPr>
        </p:nvGraphicFramePr>
        <p:xfrm>
          <a:off x="2884074" y="647541"/>
          <a:ext cx="9148598" cy="20116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7266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2663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2663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5892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10976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52699">
                <a:tc rowSpan="2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Refrigerant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Designation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Lower</a:t>
                      </a:r>
                      <a:r>
                        <a:rPr lang="en-US" sz="2400" baseline="0" dirty="0"/>
                        <a:t> Flammability (LFL)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uto Ignition</a:t>
                      </a:r>
                      <a:r>
                        <a:rPr lang="en-US" sz="2400" baseline="0" dirty="0"/>
                        <a:t> Temperature (Degree Celsiu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635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By Volum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By</a:t>
                      </a:r>
                      <a:r>
                        <a:rPr lang="en-US" sz="2400" baseline="0" dirty="0"/>
                        <a:t> Mass (Kg/m3)</a:t>
                      </a:r>
                      <a:endParaRPr lang="en-US" sz="2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69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Propa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R 2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3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0.0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47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28872" y="5847739"/>
            <a:ext cx="142549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Flammability limits of Hydrocarbons are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round 2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%-10% when mixed in air</a:t>
            </a:r>
          </a:p>
          <a:p>
            <a:endParaRPr lang="en-US" sz="2000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16448"/>
            <a:ext cx="2655476" cy="2572421"/>
            <a:chOff x="1094659" y="3638498"/>
            <a:chExt cx="2655476" cy="2572421"/>
          </a:xfrm>
        </p:grpSpPr>
        <p:sp>
          <p:nvSpPr>
            <p:cNvPr id="8" name="Teardrop 7"/>
            <p:cNvSpPr/>
            <p:nvPr/>
          </p:nvSpPr>
          <p:spPr>
            <a:xfrm flipH="1">
              <a:off x="1094659" y="3638498"/>
              <a:ext cx="2655476" cy="2572421"/>
            </a:xfrm>
            <a:prstGeom prst="teardrop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9" name="Teardrop 8"/>
            <p:cNvSpPr/>
            <p:nvPr/>
          </p:nvSpPr>
          <p:spPr>
            <a:xfrm flipH="1">
              <a:off x="1167460" y="3716908"/>
              <a:ext cx="2510498" cy="2416134"/>
            </a:xfrm>
            <a:prstGeom prst="teardrop">
              <a:avLst/>
            </a:prstGeom>
            <a:noFill/>
            <a:ln w="25400">
              <a:solidFill>
                <a:srgbClr val="CC0066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0" name="Teardrop 9"/>
            <p:cNvSpPr/>
            <p:nvPr/>
          </p:nvSpPr>
          <p:spPr>
            <a:xfrm flipH="1">
              <a:off x="1223531" y="3764614"/>
              <a:ext cx="2398357" cy="2312697"/>
            </a:xfrm>
            <a:prstGeom prst="teardrop">
              <a:avLst/>
            </a:prstGeom>
            <a:solidFill>
              <a:srgbClr val="3396CE"/>
            </a:solidFill>
            <a:ln w="25400">
              <a:solidFill>
                <a:schemeClr val="accent1"/>
              </a:solidFill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216057" y="821858"/>
            <a:ext cx="24674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90 SAFETY CONSIDERATION </a:t>
            </a:r>
          </a:p>
          <a:p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0535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1IF.78PUW_yBC2p0dc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1IF.78PUW_yBC2p0dc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1IF.78PUW_yBC2p0dc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1IF.78PUW_yBC2p0dc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1IF.78PUW_yBC2p0dc4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5</TotalTime>
  <Words>1273</Words>
  <Application>Microsoft Office PowerPoint</Application>
  <PresentationFormat>Widescreen</PresentationFormat>
  <Paragraphs>337</Paragraphs>
  <Slides>3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3" baseType="lpstr">
      <vt:lpstr>ＭＳ Ｐゴシック</vt:lpstr>
      <vt:lpstr>Arial</vt:lpstr>
      <vt:lpstr>Book Antiqua</vt:lpstr>
      <vt:lpstr>Calibri</vt:lpstr>
      <vt:lpstr>Calibri Light</vt:lpstr>
      <vt:lpstr>Verdana</vt:lpstr>
      <vt:lpstr>ヒラギノ角ゴ Pro W3</vt:lpstr>
      <vt:lpstr>Office Theme</vt:lpstr>
      <vt:lpstr>INTRODUCTION OF  R-290 TECHNOLOGIES  IN THE NETWORK COUNTRIES </vt:lpstr>
      <vt:lpstr>SIGNIFICANCE OF R290</vt:lpstr>
      <vt:lpstr>PowerPoint Presentation</vt:lpstr>
      <vt:lpstr>PowerPoint Presentation</vt:lpstr>
      <vt:lpstr>PowerPoint Presentation</vt:lpstr>
      <vt:lpstr> CUSTOMER BASE :  3.5 Lakh installations  TECHNICIANS BASE :      4500 +</vt:lpstr>
      <vt:lpstr>ADDRESSING THE  SERVICING NEEDS  OF R290 ACs</vt:lpstr>
      <vt:lpstr>PowerPoint Presentation</vt:lpstr>
      <vt:lpstr>PowerPoint Presentation</vt:lpstr>
      <vt:lpstr>PowerPoint Presentation</vt:lpstr>
      <vt:lpstr>PRODUCT SERVICE MODULE</vt:lpstr>
      <vt:lpstr> Competent Trainers to Train Technicians </vt:lpstr>
      <vt:lpstr>PowerPoint Presentation</vt:lpstr>
      <vt:lpstr>PowerPoint Presentation</vt:lpstr>
      <vt:lpstr>TRAIN  THE TECHNICIAN</vt:lpstr>
      <vt:lpstr>      Only Trained and certified technicians attend to Green AC’s Installation and repai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ternational Experiences with the use of Hydrocarbon Refrigerants </vt:lpstr>
      <vt:lpstr>PowerPoint Presentation</vt:lpstr>
      <vt:lpstr> 0 ACCIDENTS DUE  TO THE USE OF R 290</vt:lpstr>
      <vt:lpstr>   BENEFITS OF PROPANE(R290)  OVER OTHER REFRIGERANT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del Center – MIEC, Nagpur</vt:lpstr>
      <vt:lpstr>Future Plans</vt:lpstr>
      <vt:lpstr> ARE YOU READY TO JOIN US ON THIS GREEN JOURNEY?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of R-290 technologies in the network countries</dc:title>
  <dc:creator>apathak</dc:creator>
  <cp:lastModifiedBy>apathak</cp:lastModifiedBy>
  <cp:revision>168</cp:revision>
  <dcterms:created xsi:type="dcterms:W3CDTF">2017-05-15T11:55:29Z</dcterms:created>
  <dcterms:modified xsi:type="dcterms:W3CDTF">2017-05-24T05:17:50Z</dcterms:modified>
</cp:coreProperties>
</file>